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tags/tag8.xml" ContentType="application/vnd.openxmlformats-officedocument.presentationml.tag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diagrams/layout3.xml" ContentType="application/vnd.openxmlformats-officedocument.drawingml.diagramLayout+xml"/>
  <Override PartName="/ppt/tags/tag14.xml" ContentType="application/vnd.openxmlformats-officedocument.presentationml.tags+xml"/>
  <Override PartName="/ppt/diagrams/data4.xml" ContentType="application/vnd.openxmlformats-officedocument.drawingml.diagramData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diagrams/layout4.xml" ContentType="application/vnd.openxmlformats-officedocument.drawingml.diagram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tags/tag1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handoutMasterIdLst>
    <p:handoutMasterId r:id="rId10"/>
  </p:handoutMasterIdLst>
  <p:sldIdLst>
    <p:sldId id="352" r:id="rId2"/>
    <p:sldId id="343" r:id="rId3"/>
    <p:sldId id="344" r:id="rId4"/>
    <p:sldId id="353" r:id="rId5"/>
    <p:sldId id="354" r:id="rId6"/>
    <p:sldId id="355" r:id="rId7"/>
    <p:sldId id="349" r:id="rId8"/>
  </p:sldIdLst>
  <p:sldSz cx="9906000" cy="6858000" type="A4"/>
  <p:notesSz cx="7023100" cy="93091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1B3277"/>
    <a:srgbClr val="FFFF99"/>
    <a:srgbClr val="FFFFCC"/>
    <a:srgbClr val="FFFFF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63" autoAdjust="0"/>
    <p:restoredTop sz="94660"/>
  </p:normalViewPr>
  <p:slideViewPr>
    <p:cSldViewPr>
      <p:cViewPr>
        <p:scale>
          <a:sx n="90" d="100"/>
          <a:sy n="90" d="100"/>
        </p:scale>
        <p:origin x="-744" y="462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4" d="100"/>
          <a:sy n="74" d="100"/>
        </p:scale>
        <p:origin x="-2136" y="-90"/>
      </p:cViewPr>
      <p:guideLst>
        <p:guide orient="horz" pos="2932"/>
        <p:guide pos="2212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iagrams/_rels/data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5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#3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#4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4B3E33E-CD53-4E22-9286-8F94269E9ADA}" type="doc">
      <dgm:prSet loTypeId="urn:microsoft.com/office/officeart/2005/8/layout/hierarchy4" loCatId="hierarchy" qsTypeId="urn:microsoft.com/office/officeart/2005/8/quickstyle/simple1#1" qsCatId="simple" csTypeId="urn:microsoft.com/office/officeart/2005/8/colors/accent1_2#1" csCatId="accent1" phldr="1"/>
      <dgm:spPr/>
      <dgm:t>
        <a:bodyPr/>
        <a:lstStyle/>
        <a:p>
          <a:endParaRPr lang="en-US"/>
        </a:p>
      </dgm:t>
    </dgm:pt>
    <dgm:pt modelId="{E918D88D-66A7-4790-9852-9B729AC0E9AF}">
      <dgm:prSet phldrT="[Text]" custT="1"/>
      <dgm:spPr>
        <a:noFill/>
        <a:ln w="3175">
          <a:solidFill>
            <a:schemeClr val="bg1">
              <a:lumMod val="85000"/>
            </a:schemeClr>
          </a:solidFill>
        </a:ln>
      </dgm:spPr>
      <dgm:t>
        <a:bodyPr/>
        <a:lstStyle/>
        <a:p>
          <a:r>
            <a:rPr lang="ro-RO" altLang="en-US" sz="1400" b="1" dirty="0" smtClean="0">
              <a:solidFill>
                <a:schemeClr val="tx1">
                  <a:lumMod val="95000"/>
                  <a:lumOff val="5000"/>
                </a:schemeClr>
              </a:solidFill>
              <a:latin typeface="Arial" pitchFamily="34" charset="0"/>
              <a:cs typeface="Arial" pitchFamily="34" charset="0"/>
            </a:rPr>
            <a:t>Perimetrul afacerii</a:t>
          </a:r>
          <a:endParaRPr lang="en-US" sz="1400" dirty="0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DFC66465-95FB-49BC-B26F-4D74581129FF}" type="parTrans" cxnId="{C2AED972-4EB5-4BB9-8ADD-C1316DA46510}">
      <dgm:prSet/>
      <dgm:spPr/>
      <dgm:t>
        <a:bodyPr/>
        <a:lstStyle/>
        <a:p>
          <a:endParaRPr lang="en-US" sz="1200">
            <a:solidFill>
              <a:schemeClr val="tx1"/>
            </a:solidFill>
          </a:endParaRPr>
        </a:p>
      </dgm:t>
    </dgm:pt>
    <dgm:pt modelId="{B40EA4BF-69EC-4B38-AE01-11423A9B85DF}" type="sibTrans" cxnId="{C2AED972-4EB5-4BB9-8ADD-C1316DA46510}">
      <dgm:prSet/>
      <dgm:spPr/>
      <dgm:t>
        <a:bodyPr/>
        <a:lstStyle/>
        <a:p>
          <a:endParaRPr lang="en-US" sz="1200">
            <a:solidFill>
              <a:schemeClr val="tx1"/>
            </a:solidFill>
          </a:endParaRPr>
        </a:p>
      </dgm:t>
    </dgm:pt>
    <dgm:pt modelId="{A2F2F493-7A93-46E4-9CF5-4D3F0272FEF6}">
      <dgm:prSet phldrT="[Text]" custT="1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r>
            <a:rPr lang="en-US" altLang="en-US" sz="11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Rom</a:t>
          </a:r>
          <a:r>
            <a:rPr lang="ro-RO" altLang="en-US" sz="11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â</a:t>
          </a:r>
          <a:r>
            <a:rPr lang="en-US" altLang="en-US" sz="1100" b="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nia</a:t>
          </a:r>
          <a:endParaRPr lang="en-US" altLang="en-US" sz="1100" b="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r>
            <a:rPr lang="ro-RO" altLang="en-US" sz="11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Transport energie electrică</a:t>
          </a:r>
          <a:endParaRPr lang="en-US" altLang="en-US" sz="1100" b="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r>
            <a:rPr lang="ro-RO" altLang="en-US" sz="11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Monopol reglementat</a:t>
          </a:r>
          <a:endParaRPr lang="en-US" altLang="en-US" sz="1100" b="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F5DDAF0-6A4E-4610-B719-18ECE2E0E5F8}" type="parTrans" cxnId="{5866189C-2452-43D4-AA16-99E913950364}">
      <dgm:prSet/>
      <dgm:spPr/>
      <dgm:t>
        <a:bodyPr/>
        <a:lstStyle/>
        <a:p>
          <a:endParaRPr lang="en-US" sz="1200">
            <a:solidFill>
              <a:schemeClr val="tx1"/>
            </a:solidFill>
          </a:endParaRPr>
        </a:p>
      </dgm:t>
    </dgm:pt>
    <dgm:pt modelId="{F1C9D859-4284-4251-8BA0-FC550B88DB75}" type="sibTrans" cxnId="{5866189C-2452-43D4-AA16-99E913950364}">
      <dgm:prSet/>
      <dgm:spPr/>
      <dgm:t>
        <a:bodyPr/>
        <a:lstStyle/>
        <a:p>
          <a:endParaRPr lang="en-US" sz="1200">
            <a:solidFill>
              <a:schemeClr val="tx1"/>
            </a:solidFill>
          </a:endParaRPr>
        </a:p>
      </dgm:t>
    </dgm:pt>
    <dgm:pt modelId="{38F2A67C-8241-4DCA-8E19-A42B7EDE7158}" type="pres">
      <dgm:prSet presAssocID="{64B3E33E-CD53-4E22-9286-8F94269E9ADA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A2565FBF-C1A3-45D5-92BD-02656C5A8DC5}" type="pres">
      <dgm:prSet presAssocID="{E918D88D-66A7-4790-9852-9B729AC0E9AF}" presName="vertOne" presStyleCnt="0"/>
      <dgm:spPr/>
    </dgm:pt>
    <dgm:pt modelId="{F7A5DF6E-04DB-4353-968C-A34095F2B6BF}" type="pres">
      <dgm:prSet presAssocID="{E918D88D-66A7-4790-9852-9B729AC0E9AF}" presName="txOne" presStyleLbl="node0" presStyleIdx="0" presStyleCnt="1" custScaleY="64883" custLinFactY="-210601" custLinFactNeighborX="50000" custLinFactNeighborY="-3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4B1DC37-2CDD-4C39-8CE0-89A7A5A54FF2}" type="pres">
      <dgm:prSet presAssocID="{E918D88D-66A7-4790-9852-9B729AC0E9AF}" presName="parTransOne" presStyleCnt="0"/>
      <dgm:spPr/>
    </dgm:pt>
    <dgm:pt modelId="{A341EE89-F995-4DC3-BD07-0A2BC73B5D0C}" type="pres">
      <dgm:prSet presAssocID="{E918D88D-66A7-4790-9852-9B729AC0E9AF}" presName="horzOne" presStyleCnt="0"/>
      <dgm:spPr/>
    </dgm:pt>
    <dgm:pt modelId="{B1A49F19-95F5-418F-843E-A43C3B50C37E}" type="pres">
      <dgm:prSet presAssocID="{A2F2F493-7A93-46E4-9CF5-4D3F0272FEF6}" presName="vertTwo" presStyleCnt="0"/>
      <dgm:spPr/>
    </dgm:pt>
    <dgm:pt modelId="{B7AFA790-2A3F-4B30-9762-EDF7DC3F3C9C}" type="pres">
      <dgm:prSet presAssocID="{A2F2F493-7A93-46E4-9CF5-4D3F0272FEF6}" presName="txTwo" presStyleLbl="node2" presStyleIdx="0" presStyleCnt="1" custScaleY="84511" custLinFactNeighborX="-1924" custLinFactNeighborY="-604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987BF90-3A49-4548-90EE-B6CACA6EC7A0}" type="pres">
      <dgm:prSet presAssocID="{A2F2F493-7A93-46E4-9CF5-4D3F0272FEF6}" presName="horzTwo" presStyleCnt="0"/>
      <dgm:spPr/>
    </dgm:pt>
  </dgm:ptLst>
  <dgm:cxnLst>
    <dgm:cxn modelId="{885A5391-55CB-4ADB-B608-964D7B333B11}" type="presOf" srcId="{A2F2F493-7A93-46E4-9CF5-4D3F0272FEF6}" destId="{B7AFA790-2A3F-4B30-9762-EDF7DC3F3C9C}" srcOrd="0" destOrd="0" presId="urn:microsoft.com/office/officeart/2005/8/layout/hierarchy4"/>
    <dgm:cxn modelId="{C2AED972-4EB5-4BB9-8ADD-C1316DA46510}" srcId="{64B3E33E-CD53-4E22-9286-8F94269E9ADA}" destId="{E918D88D-66A7-4790-9852-9B729AC0E9AF}" srcOrd="0" destOrd="0" parTransId="{DFC66465-95FB-49BC-B26F-4D74581129FF}" sibTransId="{B40EA4BF-69EC-4B38-AE01-11423A9B85DF}"/>
    <dgm:cxn modelId="{5866189C-2452-43D4-AA16-99E913950364}" srcId="{E918D88D-66A7-4790-9852-9B729AC0E9AF}" destId="{A2F2F493-7A93-46E4-9CF5-4D3F0272FEF6}" srcOrd="0" destOrd="0" parTransId="{DF5DDAF0-6A4E-4610-B719-18ECE2E0E5F8}" sibTransId="{F1C9D859-4284-4251-8BA0-FC550B88DB75}"/>
    <dgm:cxn modelId="{8B05094F-F670-41F3-872D-B07768259662}" type="presOf" srcId="{E918D88D-66A7-4790-9852-9B729AC0E9AF}" destId="{F7A5DF6E-04DB-4353-968C-A34095F2B6BF}" srcOrd="0" destOrd="0" presId="urn:microsoft.com/office/officeart/2005/8/layout/hierarchy4"/>
    <dgm:cxn modelId="{61F07206-D8B1-40AC-9515-C2A5312EB18F}" type="presOf" srcId="{64B3E33E-CD53-4E22-9286-8F94269E9ADA}" destId="{38F2A67C-8241-4DCA-8E19-A42B7EDE7158}" srcOrd="0" destOrd="0" presId="urn:microsoft.com/office/officeart/2005/8/layout/hierarchy4"/>
    <dgm:cxn modelId="{F1CA1D07-623E-487D-9DEC-8CF5A4B773B3}" type="presParOf" srcId="{38F2A67C-8241-4DCA-8E19-A42B7EDE7158}" destId="{A2565FBF-C1A3-45D5-92BD-02656C5A8DC5}" srcOrd="0" destOrd="0" presId="urn:microsoft.com/office/officeart/2005/8/layout/hierarchy4"/>
    <dgm:cxn modelId="{F5A17943-B307-4F25-B2AB-325AC1874598}" type="presParOf" srcId="{A2565FBF-C1A3-45D5-92BD-02656C5A8DC5}" destId="{F7A5DF6E-04DB-4353-968C-A34095F2B6BF}" srcOrd="0" destOrd="0" presId="urn:microsoft.com/office/officeart/2005/8/layout/hierarchy4"/>
    <dgm:cxn modelId="{0B771A63-2154-49D3-A848-CB27CC24C26A}" type="presParOf" srcId="{A2565FBF-C1A3-45D5-92BD-02656C5A8DC5}" destId="{C4B1DC37-2CDD-4C39-8CE0-89A7A5A54FF2}" srcOrd="1" destOrd="0" presId="urn:microsoft.com/office/officeart/2005/8/layout/hierarchy4"/>
    <dgm:cxn modelId="{0879B773-E8B2-4DE1-8458-93422ED0E764}" type="presParOf" srcId="{A2565FBF-C1A3-45D5-92BD-02656C5A8DC5}" destId="{A341EE89-F995-4DC3-BD07-0A2BC73B5D0C}" srcOrd="2" destOrd="0" presId="urn:microsoft.com/office/officeart/2005/8/layout/hierarchy4"/>
    <dgm:cxn modelId="{A52029B0-A588-495D-812E-4D16EA9D5043}" type="presParOf" srcId="{A341EE89-F995-4DC3-BD07-0A2BC73B5D0C}" destId="{B1A49F19-95F5-418F-843E-A43C3B50C37E}" srcOrd="0" destOrd="0" presId="urn:microsoft.com/office/officeart/2005/8/layout/hierarchy4"/>
    <dgm:cxn modelId="{DF3B73F8-79B7-4B9C-A94E-47D027254EE0}" type="presParOf" srcId="{B1A49F19-95F5-418F-843E-A43C3B50C37E}" destId="{B7AFA790-2A3F-4B30-9762-EDF7DC3F3C9C}" srcOrd="0" destOrd="0" presId="urn:microsoft.com/office/officeart/2005/8/layout/hierarchy4"/>
    <dgm:cxn modelId="{2769789B-394F-4910-977E-868962AE8DB9}" type="presParOf" srcId="{B1A49F19-95F5-418F-843E-A43C3B50C37E}" destId="{9987BF90-3A49-4548-90EE-B6CACA6EC7A0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62F9B02-98FA-4058-B775-E2B501A9DD9D}" type="doc">
      <dgm:prSet loTypeId="urn:microsoft.com/office/officeart/2005/8/layout/chevron1" loCatId="process" qsTypeId="urn:microsoft.com/office/officeart/2005/8/quickstyle/simple1#2" qsCatId="simple" csTypeId="urn:microsoft.com/office/officeart/2005/8/colors/accent1_2#2" csCatId="accent1" phldr="1"/>
      <dgm:spPr/>
    </dgm:pt>
    <dgm:pt modelId="{9DC325E4-938C-42FE-AA1F-6B43FFB57BC8}">
      <dgm:prSet phldrT="[Text]" custT="1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ro-RO" sz="9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Producție</a:t>
          </a:r>
          <a:endParaRPr lang="en-GB" sz="9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1C357F0-58AA-4258-A06B-0863F60EF3DB}" type="parTrans" cxnId="{21E2E0FA-2C3B-48B0-B6E0-8633F2A0F51D}">
      <dgm:prSet/>
      <dgm:spPr/>
      <dgm:t>
        <a:bodyPr/>
        <a:lstStyle/>
        <a:p>
          <a:endParaRPr lang="en-GB" sz="90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041ACEA-6B23-4D0F-835E-9AD990A628AE}" type="sibTrans" cxnId="{21E2E0FA-2C3B-48B0-B6E0-8633F2A0F51D}">
      <dgm:prSet/>
      <dgm:spPr/>
      <dgm:t>
        <a:bodyPr/>
        <a:lstStyle/>
        <a:p>
          <a:endParaRPr lang="en-GB" sz="90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EC4CC23-5F65-4ED1-AC0C-921716B38EFD}">
      <dgm:prSet phldrT="[Text]" custT="1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ro-RO" sz="9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Consum</a:t>
          </a:r>
          <a:endParaRPr lang="en-GB" sz="9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D1359C9-D9F7-4D4B-8A5F-D6EF37BED8DE}" type="parTrans" cxnId="{EBB3DCCB-4545-4A7E-8011-83960593D7C3}">
      <dgm:prSet/>
      <dgm:spPr/>
      <dgm:t>
        <a:bodyPr/>
        <a:lstStyle/>
        <a:p>
          <a:endParaRPr lang="en-GB" sz="90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9F782B1-6603-4AF6-A05C-883E3421427C}" type="sibTrans" cxnId="{EBB3DCCB-4545-4A7E-8011-83960593D7C3}">
      <dgm:prSet/>
      <dgm:spPr/>
      <dgm:t>
        <a:bodyPr/>
        <a:lstStyle/>
        <a:p>
          <a:endParaRPr lang="en-GB" sz="90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2B9735E-AC4D-49EE-AAF2-9AA3E4F55729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ro-RO" sz="900" b="1" dirty="0" smtClean="0">
              <a:solidFill>
                <a:srgbClr val="FFFF66"/>
              </a:solidFill>
              <a:latin typeface="Arial" panose="020B0604020202020204" pitchFamily="34" charset="0"/>
              <a:cs typeface="Arial" panose="020B0604020202020204" pitchFamily="34" charset="0"/>
            </a:rPr>
            <a:t>Transport</a:t>
          </a:r>
          <a:endParaRPr lang="en-GB" sz="900" b="1" dirty="0">
            <a:solidFill>
              <a:srgbClr val="FFFF66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A3053FE-595A-40AA-A006-9625A294990C}" type="parTrans" cxnId="{B96BCEA9-CF77-4A16-A9D4-3821848D26A9}">
      <dgm:prSet/>
      <dgm:spPr/>
      <dgm:t>
        <a:bodyPr/>
        <a:lstStyle/>
        <a:p>
          <a:endParaRPr lang="en-GB" sz="90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EC19E11-E55A-4EFD-A088-185E14C43043}" type="sibTrans" cxnId="{B96BCEA9-CF77-4A16-A9D4-3821848D26A9}">
      <dgm:prSet/>
      <dgm:spPr/>
      <dgm:t>
        <a:bodyPr/>
        <a:lstStyle/>
        <a:p>
          <a:endParaRPr lang="en-GB" sz="90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0B9D4B6-61EA-45AE-A1E0-E46954545431}">
      <dgm:prSet phldrT="[Text]" custT="1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ro-RO" sz="9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Distribuție</a:t>
          </a:r>
          <a:endParaRPr lang="en-GB" sz="9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ED5673A-7812-4BBC-894A-091A9EEFE928}" type="parTrans" cxnId="{D1DFDA78-3A8D-4FF5-AF6D-F055A0A54BE5}">
      <dgm:prSet/>
      <dgm:spPr/>
      <dgm:t>
        <a:bodyPr/>
        <a:lstStyle/>
        <a:p>
          <a:endParaRPr lang="en-GB" sz="90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EB5FA00-02A1-45E5-BAAA-AA06AD355A1E}" type="sibTrans" cxnId="{D1DFDA78-3A8D-4FF5-AF6D-F055A0A54BE5}">
      <dgm:prSet/>
      <dgm:spPr/>
      <dgm:t>
        <a:bodyPr/>
        <a:lstStyle/>
        <a:p>
          <a:endParaRPr lang="en-GB" sz="90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5D66384-B6CD-468A-891D-0EFE38D3C824}" type="pres">
      <dgm:prSet presAssocID="{062F9B02-98FA-4058-B775-E2B501A9DD9D}" presName="Name0" presStyleCnt="0">
        <dgm:presLayoutVars>
          <dgm:dir/>
          <dgm:animLvl val="lvl"/>
          <dgm:resizeHandles val="exact"/>
        </dgm:presLayoutVars>
      </dgm:prSet>
      <dgm:spPr/>
    </dgm:pt>
    <dgm:pt modelId="{4AA3226F-A346-46F6-9642-8E2A32C4AAD2}" type="pres">
      <dgm:prSet presAssocID="{9DC325E4-938C-42FE-AA1F-6B43FFB57BC8}" presName="parTxOnly" presStyleLbl="node1" presStyleIdx="0" presStyleCnt="4" custScaleX="12027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870636-894C-4C3E-B1B6-D3A042E2BCF2}" type="pres">
      <dgm:prSet presAssocID="{9041ACEA-6B23-4D0F-835E-9AD990A628AE}" presName="parTxOnlySpace" presStyleCnt="0"/>
      <dgm:spPr/>
    </dgm:pt>
    <dgm:pt modelId="{BB2A8146-01F8-4B1B-A53E-656C193C2C38}" type="pres">
      <dgm:prSet presAssocID="{12B9735E-AC4D-49EE-AAF2-9AA3E4F55729}" presName="parTxOnly" presStyleLbl="node1" presStyleIdx="1" presStyleCnt="4" custScaleX="14156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A216F80-4920-4715-8811-0C91C019DF81}" type="pres">
      <dgm:prSet presAssocID="{CEC19E11-E55A-4EFD-A088-185E14C43043}" presName="parTxOnlySpace" presStyleCnt="0"/>
      <dgm:spPr/>
    </dgm:pt>
    <dgm:pt modelId="{8E411340-F42A-46CB-8853-232384F2F972}" type="pres">
      <dgm:prSet presAssocID="{A0B9D4B6-61EA-45AE-A1E0-E46954545431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CEE99C0-C720-4D47-AAE8-9B043CD7ADD8}" type="pres">
      <dgm:prSet presAssocID="{FEB5FA00-02A1-45E5-BAAA-AA06AD355A1E}" presName="parTxOnlySpace" presStyleCnt="0"/>
      <dgm:spPr/>
    </dgm:pt>
    <dgm:pt modelId="{2F140FF3-A7B7-42FF-AFFC-12BDAFC24260}" type="pres">
      <dgm:prSet presAssocID="{1EC4CC23-5F65-4ED1-AC0C-921716B38EFD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70EE62A-5E09-4547-AA07-AAC1514966BF}" type="presOf" srcId="{1EC4CC23-5F65-4ED1-AC0C-921716B38EFD}" destId="{2F140FF3-A7B7-42FF-AFFC-12BDAFC24260}" srcOrd="0" destOrd="0" presId="urn:microsoft.com/office/officeart/2005/8/layout/chevron1"/>
    <dgm:cxn modelId="{21E2E0FA-2C3B-48B0-B6E0-8633F2A0F51D}" srcId="{062F9B02-98FA-4058-B775-E2B501A9DD9D}" destId="{9DC325E4-938C-42FE-AA1F-6B43FFB57BC8}" srcOrd="0" destOrd="0" parTransId="{31C357F0-58AA-4258-A06B-0863F60EF3DB}" sibTransId="{9041ACEA-6B23-4D0F-835E-9AD990A628AE}"/>
    <dgm:cxn modelId="{B96BCEA9-CF77-4A16-A9D4-3821848D26A9}" srcId="{062F9B02-98FA-4058-B775-E2B501A9DD9D}" destId="{12B9735E-AC4D-49EE-AAF2-9AA3E4F55729}" srcOrd="1" destOrd="0" parTransId="{FA3053FE-595A-40AA-A006-9625A294990C}" sibTransId="{CEC19E11-E55A-4EFD-A088-185E14C43043}"/>
    <dgm:cxn modelId="{6D8F879B-8F3D-4710-B4F1-A3E1C165BEC7}" type="presOf" srcId="{062F9B02-98FA-4058-B775-E2B501A9DD9D}" destId="{35D66384-B6CD-468A-891D-0EFE38D3C824}" srcOrd="0" destOrd="0" presId="urn:microsoft.com/office/officeart/2005/8/layout/chevron1"/>
    <dgm:cxn modelId="{D1DFDA78-3A8D-4FF5-AF6D-F055A0A54BE5}" srcId="{062F9B02-98FA-4058-B775-E2B501A9DD9D}" destId="{A0B9D4B6-61EA-45AE-A1E0-E46954545431}" srcOrd="2" destOrd="0" parTransId="{7ED5673A-7812-4BBC-894A-091A9EEFE928}" sibTransId="{FEB5FA00-02A1-45E5-BAAA-AA06AD355A1E}"/>
    <dgm:cxn modelId="{0671D5D4-9F41-4BD4-B45E-B9020072FBEF}" type="presOf" srcId="{A0B9D4B6-61EA-45AE-A1E0-E46954545431}" destId="{8E411340-F42A-46CB-8853-232384F2F972}" srcOrd="0" destOrd="0" presId="urn:microsoft.com/office/officeart/2005/8/layout/chevron1"/>
    <dgm:cxn modelId="{EBB3DCCB-4545-4A7E-8011-83960593D7C3}" srcId="{062F9B02-98FA-4058-B775-E2B501A9DD9D}" destId="{1EC4CC23-5F65-4ED1-AC0C-921716B38EFD}" srcOrd="3" destOrd="0" parTransId="{1D1359C9-D9F7-4D4B-8A5F-D6EF37BED8DE}" sibTransId="{69F782B1-6603-4AF6-A05C-883E3421427C}"/>
    <dgm:cxn modelId="{36D34BC9-E424-48F3-935F-8C7F5487C7EF}" type="presOf" srcId="{9DC325E4-938C-42FE-AA1F-6B43FFB57BC8}" destId="{4AA3226F-A346-46F6-9642-8E2A32C4AAD2}" srcOrd="0" destOrd="0" presId="urn:microsoft.com/office/officeart/2005/8/layout/chevron1"/>
    <dgm:cxn modelId="{97917FEE-8458-40A1-9D6E-614F252AD861}" type="presOf" srcId="{12B9735E-AC4D-49EE-AAF2-9AA3E4F55729}" destId="{BB2A8146-01F8-4B1B-A53E-656C193C2C38}" srcOrd="0" destOrd="0" presId="urn:microsoft.com/office/officeart/2005/8/layout/chevron1"/>
    <dgm:cxn modelId="{88155B5E-95CD-43CF-B0B2-A3F54264CE21}" type="presParOf" srcId="{35D66384-B6CD-468A-891D-0EFE38D3C824}" destId="{4AA3226F-A346-46F6-9642-8E2A32C4AAD2}" srcOrd="0" destOrd="0" presId="urn:microsoft.com/office/officeart/2005/8/layout/chevron1"/>
    <dgm:cxn modelId="{334B5B3D-7110-49B0-A065-051740B707C6}" type="presParOf" srcId="{35D66384-B6CD-468A-891D-0EFE38D3C824}" destId="{F1870636-894C-4C3E-B1B6-D3A042E2BCF2}" srcOrd="1" destOrd="0" presId="urn:microsoft.com/office/officeart/2005/8/layout/chevron1"/>
    <dgm:cxn modelId="{5597C7D1-EB35-48D5-BD59-B75459F7EFD2}" type="presParOf" srcId="{35D66384-B6CD-468A-891D-0EFE38D3C824}" destId="{BB2A8146-01F8-4B1B-A53E-656C193C2C38}" srcOrd="2" destOrd="0" presId="urn:microsoft.com/office/officeart/2005/8/layout/chevron1"/>
    <dgm:cxn modelId="{5DB44146-5F38-4E00-B095-EBA5307DE34B}" type="presParOf" srcId="{35D66384-B6CD-468A-891D-0EFE38D3C824}" destId="{6A216F80-4920-4715-8811-0C91C019DF81}" srcOrd="3" destOrd="0" presId="urn:microsoft.com/office/officeart/2005/8/layout/chevron1"/>
    <dgm:cxn modelId="{90F9A8CC-D67E-48BF-B869-16070F537ACF}" type="presParOf" srcId="{35D66384-B6CD-468A-891D-0EFE38D3C824}" destId="{8E411340-F42A-46CB-8853-232384F2F972}" srcOrd="4" destOrd="0" presId="urn:microsoft.com/office/officeart/2005/8/layout/chevron1"/>
    <dgm:cxn modelId="{092EF4B1-2265-45EA-805E-51C8BCDADADD}" type="presParOf" srcId="{35D66384-B6CD-468A-891D-0EFE38D3C824}" destId="{2CEE99C0-C720-4D47-AAE8-9B043CD7ADD8}" srcOrd="5" destOrd="0" presId="urn:microsoft.com/office/officeart/2005/8/layout/chevron1"/>
    <dgm:cxn modelId="{2750B035-11F1-4E27-B4A0-6B713435D73C}" type="presParOf" srcId="{35D66384-B6CD-468A-891D-0EFE38D3C824}" destId="{2F140FF3-A7B7-42FF-AFFC-12BDAFC24260}" srcOrd="6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4B3E33E-CD53-4E22-9286-8F94269E9ADA}" type="doc">
      <dgm:prSet loTypeId="urn:microsoft.com/office/officeart/2005/8/layout/hierarchy4" loCatId="hierarchy" qsTypeId="urn:microsoft.com/office/officeart/2005/8/quickstyle/simple1#3" qsCatId="simple" csTypeId="urn:microsoft.com/office/officeart/2005/8/colors/accent1_2#3" csCatId="accent1" phldr="1"/>
      <dgm:spPr/>
      <dgm:t>
        <a:bodyPr/>
        <a:lstStyle/>
        <a:p>
          <a:endParaRPr lang="en-US"/>
        </a:p>
      </dgm:t>
    </dgm:pt>
    <dgm:pt modelId="{38F2A67C-8241-4DCA-8E19-A42B7EDE7158}" type="pres">
      <dgm:prSet presAssocID="{64B3E33E-CD53-4E22-9286-8F94269E9ADA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</dgm:ptLst>
  <dgm:cxnLst>
    <dgm:cxn modelId="{0C261B5F-7833-4B41-A259-07E582CCA894}" type="presOf" srcId="{64B3E33E-CD53-4E22-9286-8F94269E9ADA}" destId="{38F2A67C-8241-4DCA-8E19-A42B7EDE7158}" srcOrd="0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6A257E3-54A9-416A-86AF-E78FC194B541}" type="doc">
      <dgm:prSet loTypeId="urn:microsoft.com/office/officeart/2005/8/layout/vList3#1" loCatId="list" qsTypeId="urn:microsoft.com/office/officeart/2005/8/quickstyle/simple1#4" qsCatId="simple" csTypeId="urn:microsoft.com/office/officeart/2005/8/colors/accent1_2#4" csCatId="accent1" phldr="1"/>
      <dgm:spPr/>
    </dgm:pt>
    <dgm:pt modelId="{9A711A7B-940C-48A4-BBAE-9D03BF5C0EFE}">
      <dgm:prSet phldrT="[Text]" custT="1"/>
      <dgm:spPr>
        <a:solidFill>
          <a:schemeClr val="accent1">
            <a:lumMod val="75000"/>
          </a:schemeClr>
        </a:solidFill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pPr algn="l">
            <a:spcAft>
              <a:spcPts val="300"/>
            </a:spcAft>
          </a:pPr>
          <a:r>
            <a:rPr lang="ro-RO" altLang="ro-RO" sz="1400" b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Retehnologizarea rețelei existente</a:t>
          </a:r>
          <a:endParaRPr lang="en-US" altLang="ro-RO" sz="1400" b="0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FC25FA1-F425-4539-B468-E226555F5E9B}" type="parTrans" cxnId="{15DDB988-16CB-439B-B05D-780FEC8EB268}">
      <dgm:prSet/>
      <dgm:spPr/>
      <dgm:t>
        <a:bodyPr/>
        <a:lstStyle/>
        <a:p>
          <a:pPr algn="l"/>
          <a:endParaRPr lang="en-US" sz="1800">
            <a:latin typeface="Arial" pitchFamily="34" charset="0"/>
            <a:cs typeface="Arial" pitchFamily="34" charset="0"/>
          </a:endParaRPr>
        </a:p>
      </dgm:t>
    </dgm:pt>
    <dgm:pt modelId="{B6F4A1F2-4ED6-4116-BCA7-4ABC83430B5E}" type="sibTrans" cxnId="{15DDB988-16CB-439B-B05D-780FEC8EB268}">
      <dgm:prSet/>
      <dgm:spPr/>
      <dgm:t>
        <a:bodyPr/>
        <a:lstStyle/>
        <a:p>
          <a:pPr algn="l"/>
          <a:endParaRPr lang="en-US" sz="1800">
            <a:latin typeface="Arial" pitchFamily="34" charset="0"/>
            <a:cs typeface="Arial" pitchFamily="34" charset="0"/>
          </a:endParaRPr>
        </a:p>
      </dgm:t>
    </dgm:pt>
    <dgm:pt modelId="{7972BB73-2FCF-4D88-A4E9-BAA966CDC604}">
      <dgm:prSet phldrT="[Text]" custT="1"/>
      <dgm:spPr>
        <a:solidFill>
          <a:schemeClr val="accent1">
            <a:lumMod val="75000"/>
          </a:schemeClr>
        </a:solidFill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pPr algn="l">
            <a:spcAft>
              <a:spcPts val="300"/>
            </a:spcAft>
          </a:pPr>
          <a:r>
            <a:rPr lang="ro-RO" altLang="ro-RO" sz="1400" b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Creșterea capacității de transport a producției din Dobrogea</a:t>
          </a:r>
          <a:endParaRPr lang="en-US" altLang="ro-RO" sz="1400" b="0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7455C38-724C-47EC-83F9-5361A9A40288}" type="parTrans" cxnId="{2A7074BB-CAE6-4DA0-855F-21E5D1A4FE3C}">
      <dgm:prSet/>
      <dgm:spPr/>
      <dgm:t>
        <a:bodyPr/>
        <a:lstStyle/>
        <a:p>
          <a:pPr algn="l"/>
          <a:endParaRPr lang="en-US" sz="1800">
            <a:latin typeface="Arial" pitchFamily="34" charset="0"/>
            <a:cs typeface="Arial" pitchFamily="34" charset="0"/>
          </a:endParaRPr>
        </a:p>
      </dgm:t>
    </dgm:pt>
    <dgm:pt modelId="{4D42CDAB-BB27-459C-8266-88B9DAC2DD9B}" type="sibTrans" cxnId="{2A7074BB-CAE6-4DA0-855F-21E5D1A4FE3C}">
      <dgm:prSet/>
      <dgm:spPr/>
      <dgm:t>
        <a:bodyPr/>
        <a:lstStyle/>
        <a:p>
          <a:pPr algn="l"/>
          <a:endParaRPr lang="en-US" sz="1800">
            <a:latin typeface="Arial" pitchFamily="34" charset="0"/>
            <a:cs typeface="Arial" pitchFamily="34" charset="0"/>
          </a:endParaRPr>
        </a:p>
      </dgm:t>
    </dgm:pt>
    <dgm:pt modelId="{87995C88-D459-48AE-BD57-429BC72BFB4C}">
      <dgm:prSet custT="1"/>
      <dgm:spPr>
        <a:solidFill>
          <a:schemeClr val="accent1">
            <a:lumMod val="75000"/>
          </a:schemeClr>
        </a:solidFill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pPr algn="l"/>
          <a:r>
            <a:rPr lang="ro-RO" altLang="ro-RO" sz="1400" b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Creșterea capacității de interconexiune transfrontalieră</a:t>
          </a:r>
          <a:endParaRPr lang="en-US" sz="1400" b="0" dirty="0">
            <a:solidFill>
              <a:schemeClr val="accent1">
                <a:lumMod val="60000"/>
                <a:lumOff val="4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7BFA5828-A4DA-4AE0-8F7C-B01B0B404040}" type="parTrans" cxnId="{CF6FC5B4-1569-4727-9F00-9C4E1685E734}">
      <dgm:prSet/>
      <dgm:spPr/>
      <dgm:t>
        <a:bodyPr/>
        <a:lstStyle/>
        <a:p>
          <a:pPr algn="l"/>
          <a:endParaRPr lang="en-US" sz="1800">
            <a:latin typeface="Arial" pitchFamily="34" charset="0"/>
            <a:cs typeface="Arial" pitchFamily="34" charset="0"/>
          </a:endParaRPr>
        </a:p>
      </dgm:t>
    </dgm:pt>
    <dgm:pt modelId="{D8265BA0-6CF6-47D1-89E9-BD55781514ED}" type="sibTrans" cxnId="{CF6FC5B4-1569-4727-9F00-9C4E1685E734}">
      <dgm:prSet/>
      <dgm:spPr/>
      <dgm:t>
        <a:bodyPr/>
        <a:lstStyle/>
        <a:p>
          <a:pPr algn="l"/>
          <a:endParaRPr lang="en-US" sz="1800">
            <a:latin typeface="Arial" pitchFamily="34" charset="0"/>
            <a:cs typeface="Arial" pitchFamily="34" charset="0"/>
          </a:endParaRPr>
        </a:p>
      </dgm:t>
    </dgm:pt>
    <dgm:pt modelId="{BA5A27D8-CD75-456A-9E2E-9F6B4A5329E0}" type="pres">
      <dgm:prSet presAssocID="{96A257E3-54A9-416A-86AF-E78FC194B541}" presName="linearFlow" presStyleCnt="0">
        <dgm:presLayoutVars>
          <dgm:dir/>
          <dgm:resizeHandles val="exact"/>
        </dgm:presLayoutVars>
      </dgm:prSet>
      <dgm:spPr/>
    </dgm:pt>
    <dgm:pt modelId="{9CB81E2A-DB93-4182-9C78-B6763AD02692}" type="pres">
      <dgm:prSet presAssocID="{9A711A7B-940C-48A4-BBAE-9D03BF5C0EFE}" presName="composite" presStyleCnt="0"/>
      <dgm:spPr/>
    </dgm:pt>
    <dgm:pt modelId="{69EFF4B1-5F0D-4CB1-8953-3D6400ECE3E3}" type="pres">
      <dgm:prSet presAssocID="{9A711A7B-940C-48A4-BBAE-9D03BF5C0EFE}" presName="imgShp" presStyleLbl="fgImgPlace1" presStyleIdx="0" presStyleCnt="3" custScaleX="73645" custScaleY="72084"/>
      <dgm:spPr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99C61743-868D-4FA0-BF6B-D0818D0EEF54}" type="pres">
      <dgm:prSet presAssocID="{9A711A7B-940C-48A4-BBAE-9D03BF5C0EFE}" presName="txShp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CF00EC-291D-4129-897F-9287A3B68EE9}" type="pres">
      <dgm:prSet presAssocID="{B6F4A1F2-4ED6-4116-BCA7-4ABC83430B5E}" presName="spacing" presStyleCnt="0"/>
      <dgm:spPr/>
    </dgm:pt>
    <dgm:pt modelId="{8314AAAC-47C2-433C-8086-789868B709DC}" type="pres">
      <dgm:prSet presAssocID="{7972BB73-2FCF-4D88-A4E9-BAA966CDC604}" presName="composite" presStyleCnt="0"/>
      <dgm:spPr/>
    </dgm:pt>
    <dgm:pt modelId="{D9EA1A05-B2EF-40F4-889D-264D80DB1941}" type="pres">
      <dgm:prSet presAssocID="{7972BB73-2FCF-4D88-A4E9-BAA966CDC604}" presName="imgShp" presStyleLbl="fgImgPlace1" presStyleIdx="1" presStyleCnt="3" custScaleX="73645" custScaleY="72084"/>
      <dgm:spPr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22DE29F3-5C5E-4D57-8EA0-0ADEED91EB2A}" type="pres">
      <dgm:prSet presAssocID="{7972BB73-2FCF-4D88-A4E9-BAA966CDC604}" presName="txShp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D5F061B-F896-4959-878B-C82ACD6F1B11}" type="pres">
      <dgm:prSet presAssocID="{4D42CDAB-BB27-459C-8266-88B9DAC2DD9B}" presName="spacing" presStyleCnt="0"/>
      <dgm:spPr/>
    </dgm:pt>
    <dgm:pt modelId="{DBC0FAE7-568D-4066-9172-7BCDD22DC89E}" type="pres">
      <dgm:prSet presAssocID="{87995C88-D459-48AE-BD57-429BC72BFB4C}" presName="composite" presStyleCnt="0"/>
      <dgm:spPr/>
    </dgm:pt>
    <dgm:pt modelId="{0F6AEB97-6525-4941-935C-AEAFD6691C8A}" type="pres">
      <dgm:prSet presAssocID="{87995C88-D459-48AE-BD57-429BC72BFB4C}" presName="imgShp" presStyleLbl="fgImgPlace1" presStyleIdx="2" presStyleCnt="3" custScaleX="73645" custScaleY="72084"/>
      <dgm:spPr>
        <a:prstGeom prst="ellipse">
          <a:avLst/>
        </a:prstGeom>
        <a:solidFill>
          <a:srgbClr val="C2CDE1"/>
        </a:solidFill>
      </dgm:spPr>
    </dgm:pt>
    <dgm:pt modelId="{4DCD061C-0545-4091-AA87-A66C17E9B5B1}" type="pres">
      <dgm:prSet presAssocID="{87995C88-D459-48AE-BD57-429BC72BFB4C}" presName="tx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FB6AD43-F1DD-4BBA-92B4-AB547A243054}" type="presOf" srcId="{7972BB73-2FCF-4D88-A4E9-BAA966CDC604}" destId="{22DE29F3-5C5E-4D57-8EA0-0ADEED91EB2A}" srcOrd="0" destOrd="0" presId="urn:microsoft.com/office/officeart/2005/8/layout/vList3#1"/>
    <dgm:cxn modelId="{59ED6F95-7A8E-48DB-824C-E4CDA9A02180}" type="presOf" srcId="{96A257E3-54A9-416A-86AF-E78FC194B541}" destId="{BA5A27D8-CD75-456A-9E2E-9F6B4A5329E0}" srcOrd="0" destOrd="0" presId="urn:microsoft.com/office/officeart/2005/8/layout/vList3#1"/>
    <dgm:cxn modelId="{15DDB988-16CB-439B-B05D-780FEC8EB268}" srcId="{96A257E3-54A9-416A-86AF-E78FC194B541}" destId="{9A711A7B-940C-48A4-BBAE-9D03BF5C0EFE}" srcOrd="0" destOrd="0" parTransId="{FFC25FA1-F425-4539-B468-E226555F5E9B}" sibTransId="{B6F4A1F2-4ED6-4116-BCA7-4ABC83430B5E}"/>
    <dgm:cxn modelId="{64DBB973-A4F2-425A-97CD-39C0FDE5CC0B}" type="presOf" srcId="{9A711A7B-940C-48A4-BBAE-9D03BF5C0EFE}" destId="{99C61743-868D-4FA0-BF6B-D0818D0EEF54}" srcOrd="0" destOrd="0" presId="urn:microsoft.com/office/officeart/2005/8/layout/vList3#1"/>
    <dgm:cxn modelId="{2A7074BB-CAE6-4DA0-855F-21E5D1A4FE3C}" srcId="{96A257E3-54A9-416A-86AF-E78FC194B541}" destId="{7972BB73-2FCF-4D88-A4E9-BAA966CDC604}" srcOrd="1" destOrd="0" parTransId="{37455C38-724C-47EC-83F9-5361A9A40288}" sibTransId="{4D42CDAB-BB27-459C-8266-88B9DAC2DD9B}"/>
    <dgm:cxn modelId="{A7572FBC-F442-4C9B-B3E0-FA7CA0F8C5A8}" type="presOf" srcId="{87995C88-D459-48AE-BD57-429BC72BFB4C}" destId="{4DCD061C-0545-4091-AA87-A66C17E9B5B1}" srcOrd="0" destOrd="0" presId="urn:microsoft.com/office/officeart/2005/8/layout/vList3#1"/>
    <dgm:cxn modelId="{CF6FC5B4-1569-4727-9F00-9C4E1685E734}" srcId="{96A257E3-54A9-416A-86AF-E78FC194B541}" destId="{87995C88-D459-48AE-BD57-429BC72BFB4C}" srcOrd="2" destOrd="0" parTransId="{7BFA5828-A4DA-4AE0-8F7C-B01B0B404040}" sibTransId="{D8265BA0-6CF6-47D1-89E9-BD55781514ED}"/>
    <dgm:cxn modelId="{401575B7-3AED-4D23-955B-15E64255BC8D}" type="presParOf" srcId="{BA5A27D8-CD75-456A-9E2E-9F6B4A5329E0}" destId="{9CB81E2A-DB93-4182-9C78-B6763AD02692}" srcOrd="0" destOrd="0" presId="urn:microsoft.com/office/officeart/2005/8/layout/vList3#1"/>
    <dgm:cxn modelId="{71084F4B-EACD-4815-A7BC-D63F92E95B00}" type="presParOf" srcId="{9CB81E2A-DB93-4182-9C78-B6763AD02692}" destId="{69EFF4B1-5F0D-4CB1-8953-3D6400ECE3E3}" srcOrd="0" destOrd="0" presId="urn:microsoft.com/office/officeart/2005/8/layout/vList3#1"/>
    <dgm:cxn modelId="{A3923B3A-8202-4A0D-9A5A-3E657B804E14}" type="presParOf" srcId="{9CB81E2A-DB93-4182-9C78-B6763AD02692}" destId="{99C61743-868D-4FA0-BF6B-D0818D0EEF54}" srcOrd="1" destOrd="0" presId="urn:microsoft.com/office/officeart/2005/8/layout/vList3#1"/>
    <dgm:cxn modelId="{8E2778D9-4A38-4BB2-9103-BAD4DD84ABF8}" type="presParOf" srcId="{BA5A27D8-CD75-456A-9E2E-9F6B4A5329E0}" destId="{41CF00EC-291D-4129-897F-9287A3B68EE9}" srcOrd="1" destOrd="0" presId="urn:microsoft.com/office/officeart/2005/8/layout/vList3#1"/>
    <dgm:cxn modelId="{EA05304E-FDBE-476C-8C5F-CABFE30289F7}" type="presParOf" srcId="{BA5A27D8-CD75-456A-9E2E-9F6B4A5329E0}" destId="{8314AAAC-47C2-433C-8086-789868B709DC}" srcOrd="2" destOrd="0" presId="urn:microsoft.com/office/officeart/2005/8/layout/vList3#1"/>
    <dgm:cxn modelId="{F16CA852-7B56-4B5D-9F70-9EBFB52A6C39}" type="presParOf" srcId="{8314AAAC-47C2-433C-8086-789868B709DC}" destId="{D9EA1A05-B2EF-40F4-889D-264D80DB1941}" srcOrd="0" destOrd="0" presId="urn:microsoft.com/office/officeart/2005/8/layout/vList3#1"/>
    <dgm:cxn modelId="{DAADB9A7-EBAC-457C-8917-984095B95CB0}" type="presParOf" srcId="{8314AAAC-47C2-433C-8086-789868B709DC}" destId="{22DE29F3-5C5E-4D57-8EA0-0ADEED91EB2A}" srcOrd="1" destOrd="0" presId="urn:microsoft.com/office/officeart/2005/8/layout/vList3#1"/>
    <dgm:cxn modelId="{33470118-3E3E-4D7E-91FB-92BB5E08C8A4}" type="presParOf" srcId="{BA5A27D8-CD75-456A-9E2E-9F6B4A5329E0}" destId="{8D5F061B-F896-4959-878B-C82ACD6F1B11}" srcOrd="3" destOrd="0" presId="urn:microsoft.com/office/officeart/2005/8/layout/vList3#1"/>
    <dgm:cxn modelId="{46E66FB4-7B5E-4AE7-A5E4-335632C91054}" type="presParOf" srcId="{BA5A27D8-CD75-456A-9E2E-9F6B4A5329E0}" destId="{DBC0FAE7-568D-4066-9172-7BCDD22DC89E}" srcOrd="4" destOrd="0" presId="urn:microsoft.com/office/officeart/2005/8/layout/vList3#1"/>
    <dgm:cxn modelId="{8DA808F3-2359-4130-8A2E-2407A9972177}" type="presParOf" srcId="{DBC0FAE7-568D-4066-9172-7BCDD22DC89E}" destId="{0F6AEB97-6525-4941-935C-AEAFD6691C8A}" srcOrd="0" destOrd="0" presId="urn:microsoft.com/office/officeart/2005/8/layout/vList3#1"/>
    <dgm:cxn modelId="{41C99981-BB1B-41CE-989C-B6F5E37DE491}" type="presParOf" srcId="{DBC0FAE7-568D-4066-9172-7BCDD22DC89E}" destId="{4DCD061C-0545-4091-AA87-A66C17E9B5B1}" srcOrd="1" destOrd="0" presId="urn:microsoft.com/office/officeart/2005/8/layout/vList3#1"/>
  </dgm:cxnLst>
  <dgm:bg/>
  <dgm:whole/>
  <dgm:extLst>
    <a:ext uri="http://schemas.microsoft.com/office/drawing/2008/diagram">
      <dsp:dataModelExt xmlns:dsp="http://schemas.microsoft.com/office/drawing/2008/diagram" xmlns="" relId="rId2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#3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#4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png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png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89968" tIns="44984" rIns="89968" bIns="4498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89968" tIns="44984" rIns="89968" bIns="4498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E2CF5B0-5E94-4D78-B1C3-B782C7DFD519}" type="datetimeFigureOut">
              <a:rPr lang="en-US"/>
              <a:pPr>
                <a:defRPr/>
              </a:pPr>
              <a:t>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89968" tIns="44984" rIns="89968" bIns="4498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89968" tIns="44984" rIns="89968" bIns="4498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1710CF9B-4AA8-49A7-BE00-ACF4C67EA77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89960" tIns="44979" rIns="89960" bIns="4497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89960" tIns="44979" rIns="89960" bIns="4497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9B94B759-2B18-4FFF-A503-E440DCD91F2F}" type="datetimeFigureOut">
              <a:rPr lang="en-US"/>
              <a:pPr>
                <a:defRPr/>
              </a:pPr>
              <a:t>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87425" y="696913"/>
            <a:ext cx="5048250" cy="34940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960" tIns="44979" rIns="89960" bIns="44979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89960" tIns="44979" rIns="89960" bIns="44979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89960" tIns="44979" rIns="89960" bIns="4497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89960" tIns="44979" rIns="89960" bIns="4497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1A8FA948-BC98-4DB3-AEEE-D9FA097A00F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5D5351-6822-4D6B-BEAC-98FBB12995B5}" type="datetimeFigureOut">
              <a:rPr lang="en-US"/>
              <a:pPr>
                <a:defRPr/>
              </a:pPr>
              <a:t>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6913238-1818-4855-9825-268BAB2AF6E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2225" name="think-cell Slide" r:id="rId4" imgW="360" imgH="360" progId="">
              <p:embed/>
            </p:oleObj>
          </a:graphicData>
        </a:graphic>
      </p:graphicFrame>
      <p:sp>
        <p:nvSpPr>
          <p:cNvPr id="5" name="Slide Number Placeholder 10"/>
          <p:cNvSpPr txBox="1">
            <a:spLocks/>
          </p:cNvSpPr>
          <p:nvPr userDrawn="1"/>
        </p:nvSpPr>
        <p:spPr>
          <a:xfrm>
            <a:off x="9385300" y="6619875"/>
            <a:ext cx="457200" cy="20161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1CB67600-509C-44F4-9F31-A2FA8E7F0ED3}" type="slidenum">
              <a:rPr lang="en-US" smtClean="0">
                <a:solidFill>
                  <a:prstClr val="white"/>
                </a:solidFill>
                <a:latin typeface="Arial Black" panose="020B0A04020102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47DFCD-43E6-4A54-B005-2AA939AB8D87}" type="datetimeFigureOut">
              <a:rPr lang="en-US"/>
              <a:pPr>
                <a:defRPr/>
              </a:pPr>
              <a:t>2020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4022143-4F60-407D-B12C-86D54C32313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3249" name="think-cell Slide" r:id="rId4" imgW="360" imgH="360" progId="">
              <p:embed/>
            </p:oleObj>
          </a:graphicData>
        </a:graphic>
      </p:graphicFrame>
      <p:sp>
        <p:nvSpPr>
          <p:cNvPr id="5" name="Slide Number Placeholder 10"/>
          <p:cNvSpPr txBox="1">
            <a:spLocks/>
          </p:cNvSpPr>
          <p:nvPr userDrawn="1"/>
        </p:nvSpPr>
        <p:spPr>
          <a:xfrm>
            <a:off x="9385300" y="6619875"/>
            <a:ext cx="457200" cy="20161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314BAF59-F576-4864-A65B-C39591CD01F5}" type="slidenum">
              <a:rPr lang="en-US" smtClean="0">
                <a:solidFill>
                  <a:prstClr val="white"/>
                </a:solidFill>
                <a:latin typeface="Arial Black" panose="020B0A04020102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39"/>
            <a:ext cx="2414588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5" y="274639"/>
            <a:ext cx="7078663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7DF9D0-25BF-4FB3-B963-99029FBCA25D}" type="datetimeFigureOut">
              <a:rPr lang="en-US"/>
              <a:pPr>
                <a:defRPr/>
              </a:pPr>
              <a:t>2020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9A90240-BFC6-4E58-B02C-CA20544D31B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4273" name="think-cell Slide" r:id="rId4" imgW="360" imgH="360" progId="">
              <p:embed/>
            </p:oleObj>
          </a:graphicData>
        </a:graphic>
      </p:graphicFrame>
      <p:sp>
        <p:nvSpPr>
          <p:cNvPr id="5" name="Slide Number Placeholder 10"/>
          <p:cNvSpPr txBox="1">
            <a:spLocks/>
          </p:cNvSpPr>
          <p:nvPr userDrawn="1"/>
        </p:nvSpPr>
        <p:spPr>
          <a:xfrm>
            <a:off x="9385300" y="6619875"/>
            <a:ext cx="457200" cy="20161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52A86AA-936E-4BFF-A8DA-DDB9C989BB3F}" type="slidenum">
              <a:rPr lang="en-US" smtClean="0">
                <a:solidFill>
                  <a:prstClr val="white"/>
                </a:solidFill>
                <a:latin typeface="Arial Black" panose="020B0A04020102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  <p:sp>
        <p:nvSpPr>
          <p:cNvPr id="6" name="Slide Number Placeholder 10"/>
          <p:cNvSpPr txBox="1">
            <a:spLocks/>
          </p:cNvSpPr>
          <p:nvPr userDrawn="1"/>
        </p:nvSpPr>
        <p:spPr>
          <a:xfrm>
            <a:off x="9385300" y="6619875"/>
            <a:ext cx="457200" cy="20161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8A72EEF6-512F-4B54-90B3-220F0B7DBA0E}" type="slidenum">
              <a:rPr lang="en-US" smtClean="0">
                <a:solidFill>
                  <a:prstClr val="white"/>
                </a:solidFill>
                <a:latin typeface="Arial Black" panose="020B0A04020102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8C6296-29A0-4F33-8AB7-CBCF8E9CCBF8}" type="datetimeFigureOut">
              <a:rPr lang="en-US"/>
              <a:pPr>
                <a:defRPr/>
              </a:pPr>
              <a:t>2020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19477FE-14EF-45F7-B6BD-5851D52681B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5297" name="think-cell Slide" r:id="rId4" imgW="360" imgH="360" progId="">
              <p:embed/>
            </p:oleObj>
          </a:graphicData>
        </a:graphic>
      </p:graphicFrame>
      <p:sp>
        <p:nvSpPr>
          <p:cNvPr id="5" name="Slide Number Placeholder 10"/>
          <p:cNvSpPr txBox="1">
            <a:spLocks/>
          </p:cNvSpPr>
          <p:nvPr userDrawn="1"/>
        </p:nvSpPr>
        <p:spPr>
          <a:xfrm>
            <a:off x="9385300" y="6619875"/>
            <a:ext cx="457200" cy="20161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0C4D8A24-F4DB-4ED2-95B4-07940130D49D}" type="slidenum">
              <a:rPr lang="en-US" smtClean="0">
                <a:solidFill>
                  <a:prstClr val="white"/>
                </a:solidFill>
                <a:latin typeface="Arial Black" panose="020B0A04020102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  <p:sp>
        <p:nvSpPr>
          <p:cNvPr id="6" name="Slide Number Placeholder 10"/>
          <p:cNvSpPr txBox="1">
            <a:spLocks/>
          </p:cNvSpPr>
          <p:nvPr userDrawn="1"/>
        </p:nvSpPr>
        <p:spPr>
          <a:xfrm>
            <a:off x="9385300" y="6619875"/>
            <a:ext cx="457200" cy="20161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6E6B24CE-9E17-4DE9-9E1E-0C115394A575}" type="slidenum">
              <a:rPr lang="en-US" smtClean="0">
                <a:solidFill>
                  <a:schemeClr val="bg1"/>
                </a:solidFill>
                <a:latin typeface="Arial Black" panose="020B0A04020102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122CBBB-1F1C-4DDD-993B-B01CD52230D2}" type="datetimeFigureOut">
              <a:rPr lang="en-US"/>
              <a:pPr>
                <a:defRPr/>
              </a:pPr>
              <a:t>2020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707509E-6A7D-4780-A782-B1301207C6B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0"/>
          <p:cNvSpPr txBox="1">
            <a:spLocks/>
          </p:cNvSpPr>
          <p:nvPr userDrawn="1"/>
        </p:nvSpPr>
        <p:spPr>
          <a:xfrm>
            <a:off x="9385300" y="6523038"/>
            <a:ext cx="457200" cy="29845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FE462040-62F9-41C4-8C4A-DB4758ACB06F}" type="slidenum">
              <a:rPr lang="en-US" smtClean="0">
                <a:solidFill>
                  <a:prstClr val="white"/>
                </a:solidFill>
                <a:latin typeface="Arial Black" panose="020B0A04020102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/>
          <a:srcRect l="604" r="330"/>
          <a:stretch>
            <a:fillRect/>
          </a:stretch>
        </p:blipFill>
        <p:spPr bwMode="auto">
          <a:xfrm>
            <a:off x="-106363" y="6096000"/>
            <a:ext cx="10028238" cy="109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 descr="http://igienaserv.ro/wp-content/uploads/2013/01/Transelectrica_Logo.pn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152400" y="6237288"/>
            <a:ext cx="588963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2"/>
          <a:srcRect l="604" r="330"/>
          <a:stretch>
            <a:fillRect/>
          </a:stretch>
        </p:blipFill>
        <p:spPr bwMode="auto">
          <a:xfrm>
            <a:off x="-107950" y="609600"/>
            <a:ext cx="10029825" cy="109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8302625" y="6237288"/>
            <a:ext cx="1527175" cy="160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2BAB1-B20D-46E6-A03A-C41496E6D1AA}" type="datetimeFigureOut">
              <a:rPr lang="en-US"/>
              <a:pPr>
                <a:defRPr/>
              </a:pPr>
              <a:t>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7FCD776-A872-46D6-9DF5-BC9E392B6C8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1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1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2964C5-E777-4AFD-BE30-4FA15CF0C178}" type="datetimeFigureOut">
              <a:rPr lang="en-US"/>
              <a:pPr>
                <a:defRPr/>
              </a:pPr>
              <a:t>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6A8EBFA-BDAF-41AD-8F74-549FF3BD009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685A4F-8B5B-4773-950C-136FFA4B32F5}" type="datetimeFigureOut">
              <a:rPr lang="en-US"/>
              <a:pPr>
                <a:defRPr/>
              </a:pPr>
              <a:t>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7F03935-5C5B-4915-ADDF-17486BC52C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1C31DB-C329-48B2-9D4A-115945B5AECC}" type="datetimeFigureOut">
              <a:rPr lang="en-US"/>
              <a:pPr>
                <a:defRPr/>
              </a:pPr>
              <a:t>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A132E31-91A5-4580-A961-A3BDA87941F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BE343-8F97-4AD9-943B-DC88FCFAD530}" type="datetimeFigureOut">
              <a:rPr lang="en-US"/>
              <a:pPr>
                <a:defRPr/>
              </a:pPr>
              <a:t>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B1CFC74-8E74-4F09-B133-DA8DCCD948E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D44498-C3A5-4813-8549-51BDCBA042F1}" type="datetimeFigureOut">
              <a:rPr lang="en-US"/>
              <a:pPr>
                <a:defRPr/>
              </a:pPr>
              <a:t>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243DB5D-1505-4860-B840-F4A3EAA9F0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B63A53-A8ED-459E-804D-D73A684E604A}" type="datetimeFigureOut">
              <a:rPr lang="en-US"/>
              <a:pPr>
                <a:defRPr/>
              </a:pPr>
              <a:t>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F6DD49F-F5F4-4E81-85C3-97F54AA49C0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17" name="Object 2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117" name="think-cell Slide" r:id="rId17" imgW="360" imgH="360" progId="">
              <p:embed/>
            </p:oleObj>
          </a:graphicData>
        </a:graphic>
      </p:graphicFrame>
      <p:sp>
        <p:nvSpPr>
          <p:cNvPr id="4119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2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D5AFFAF-AAFD-4A37-A65C-75E889A8C2ED}" type="datetimeFigureOut">
              <a:rPr lang="en-US"/>
              <a:pPr>
                <a:defRPr/>
              </a:pPr>
              <a:t>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10"/>
          <p:cNvSpPr txBox="1">
            <a:spLocks/>
          </p:cNvSpPr>
          <p:nvPr userDrawn="1"/>
        </p:nvSpPr>
        <p:spPr>
          <a:xfrm>
            <a:off x="9385300" y="6619875"/>
            <a:ext cx="457200" cy="20161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53961370-3A5A-4D73-8321-B01EEA6CC05E}" type="slidenum">
              <a:rPr lang="en-US" smtClean="0">
                <a:solidFill>
                  <a:prstClr val="white"/>
                </a:solidFill>
                <a:latin typeface="Arial Black" panose="020B0A04020102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</p:sldLayoutIdLst>
  <p:transition/>
  <p:timing>
    <p:tnLst>
      <p:par>
        <p:cTn id="1" dur="indefinite" restart="never" nodeType="tmRoot"/>
      </p:par>
    </p:tnLst>
  </p:timing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jpeg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openxmlformats.org/officeDocument/2006/relationships/diagramColors" Target="../diagrams/colors2.xml"/><Relationship Id="rId3" Type="http://schemas.openxmlformats.org/officeDocument/2006/relationships/image" Target="../media/image8.jpeg"/><Relationship Id="rId7" Type="http://schemas.openxmlformats.org/officeDocument/2006/relationships/diagramColors" Target="../diagrams/colors1.xml"/><Relationship Id="rId12" Type="http://schemas.openxmlformats.org/officeDocument/2006/relationships/diagramQuickStyle" Target="../diagrams/quickStyle2.xml"/><Relationship Id="rId1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0.emf"/><Relationship Id="rId1" Type="http://schemas.openxmlformats.org/officeDocument/2006/relationships/vmlDrawing" Target="../drawings/vmlDrawing7.vml"/><Relationship Id="rId6" Type="http://schemas.openxmlformats.org/officeDocument/2006/relationships/diagramQuickStyle" Target="../diagrams/quickStyle1.xml"/><Relationship Id="rId11" Type="http://schemas.openxmlformats.org/officeDocument/2006/relationships/diagramLayout" Target="../diagrams/layout2.xml"/><Relationship Id="rId5" Type="http://schemas.openxmlformats.org/officeDocument/2006/relationships/diagramLayout" Target="../diagrams/layout1.xml"/><Relationship Id="rId15" Type="http://schemas.openxmlformats.org/officeDocument/2006/relationships/oleObject" Target="../embeddings/oleObject7.bin"/><Relationship Id="rId10" Type="http://schemas.openxmlformats.org/officeDocument/2006/relationships/diagramData" Target="../diagrams/data2.xml"/><Relationship Id="rId4" Type="http://schemas.openxmlformats.org/officeDocument/2006/relationships/diagramData" Target="../diagrams/data1.xml"/><Relationship Id="rId9" Type="http://schemas.openxmlformats.org/officeDocument/2006/relationships/image" Target="../media/image9.png"/><Relationship Id="rId14" Type="http://schemas.microsoft.com/office/2007/relationships/diagramDrawing" Target="../diagrams/drawing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Relationship Id="rId9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diagramData" Target="../diagrams/data4.xml"/><Relationship Id="rId26" Type="http://schemas.openxmlformats.org/officeDocument/2006/relationships/image" Target="../media/image19.png"/><Relationship Id="rId3" Type="http://schemas.openxmlformats.org/officeDocument/2006/relationships/tags" Target="../tags/tag8.xml"/><Relationship Id="rId21" Type="http://schemas.openxmlformats.org/officeDocument/2006/relationships/diagramColors" Target="../diagrams/colors4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oleObject" Target="../embeddings/oleObject10.bin"/><Relationship Id="rId25" Type="http://schemas.openxmlformats.org/officeDocument/2006/relationships/image" Target="../media/image18.png"/><Relationship Id="rId2" Type="http://schemas.openxmlformats.org/officeDocument/2006/relationships/tags" Target="../tags/tag7.xml"/><Relationship Id="rId16" Type="http://schemas.openxmlformats.org/officeDocument/2006/relationships/oleObject" Target="../embeddings/oleObject9.bin"/><Relationship Id="rId20" Type="http://schemas.openxmlformats.org/officeDocument/2006/relationships/diagramQuickStyle" Target="../diagrams/quickStyle4.xml"/><Relationship Id="rId1" Type="http://schemas.openxmlformats.org/officeDocument/2006/relationships/vmlDrawing" Target="../drawings/vmlDrawing9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image" Target="../media/image17.png"/><Relationship Id="rId5" Type="http://schemas.openxmlformats.org/officeDocument/2006/relationships/tags" Target="../tags/tag10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16.png"/><Relationship Id="rId10" Type="http://schemas.openxmlformats.org/officeDocument/2006/relationships/tags" Target="../tags/tag15.xml"/><Relationship Id="rId19" Type="http://schemas.openxmlformats.org/officeDocument/2006/relationships/diagramLayout" Target="../diagrams/layout4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microsoft.com/office/2007/relationships/diagramDrawing" Target="../diagrams/drawing4.xml"/><Relationship Id="rId27" Type="http://schemas.openxmlformats.org/officeDocument/2006/relationships/image" Target="../media/image20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emf"/><Relationship Id="rId5" Type="http://schemas.openxmlformats.org/officeDocument/2006/relationships/image" Target="../media/image19.png"/><Relationship Id="rId4" Type="http://schemas.openxmlformats.org/officeDocument/2006/relationships/image" Target="../media/image23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57" name="Object 1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157" name="think-cell Slide" r:id="rId4" imgW="360" imgH="360" progId="">
              <p:embed/>
            </p:oleObj>
          </a:graphicData>
        </a:graphic>
      </p:graphicFrame>
      <p:sp>
        <p:nvSpPr>
          <p:cNvPr id="29" name="Rechteck 16"/>
          <p:cNvSpPr/>
          <p:nvPr/>
        </p:nvSpPr>
        <p:spPr bwMode="gray">
          <a:xfrm>
            <a:off x="819150" y="5876925"/>
            <a:ext cx="3275013" cy="2159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i="1" dirty="0">
                <a:solidFill>
                  <a:schemeClr val="bg1"/>
                </a:solidFill>
              </a:rPr>
              <a:t/>
            </a:r>
            <a:br>
              <a:rPr lang="en-US" sz="1400" b="1" i="1" dirty="0">
                <a:solidFill>
                  <a:schemeClr val="bg1"/>
                </a:solidFill>
              </a:rPr>
            </a:br>
            <a:endParaRPr lang="en-US" sz="1400" b="1" i="1" dirty="0">
              <a:solidFill>
                <a:schemeClr val="bg1"/>
              </a:solidFill>
            </a:endParaRPr>
          </a:p>
        </p:txBody>
      </p:sp>
      <p:pic>
        <p:nvPicPr>
          <p:cNvPr id="3081" name="Picture 9" descr="C:\Users\FLORIN~1\AppData\Local\Temp\notes1ABA62\cop2.jpg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-385484" y="0"/>
            <a:ext cx="10291483" cy="6858000"/>
          </a:xfrm>
          <a:prstGeom prst="rect">
            <a:avLst/>
          </a:prstGeom>
          <a:noFill/>
          <a:extLst>
            <a:ext uri="{909E8E84-426E-40DD-AFC4-6F175D3DCCD1}"/>
          </a:extLst>
        </p:spPr>
      </p:pic>
      <p:sp>
        <p:nvSpPr>
          <p:cNvPr id="6160" name="Freeform 24"/>
          <p:cNvSpPr>
            <a:spLocks noChangeAspect="1"/>
          </p:cNvSpPr>
          <p:nvPr/>
        </p:nvSpPr>
        <p:spPr bwMode="gray">
          <a:xfrm>
            <a:off x="0" y="2224088"/>
            <a:ext cx="5105400" cy="2576512"/>
          </a:xfrm>
          <a:custGeom>
            <a:avLst/>
            <a:gdLst>
              <a:gd name="T0" fmla="*/ 0 w 5170"/>
              <a:gd name="T1" fmla="*/ 0 h 3266"/>
              <a:gd name="T2" fmla="*/ 2147483647 w 5170"/>
              <a:gd name="T3" fmla="*/ 0 h 3266"/>
              <a:gd name="T4" fmla="*/ 2147483647 w 5170"/>
              <a:gd name="T5" fmla="*/ 2147483647 h 3266"/>
              <a:gd name="T6" fmla="*/ 0 w 5170"/>
              <a:gd name="T7" fmla="*/ 2147483647 h 3266"/>
              <a:gd name="T8" fmla="*/ 0 w 5170"/>
              <a:gd name="T9" fmla="*/ 0 h 326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170"/>
              <a:gd name="T16" fmla="*/ 0 h 3266"/>
              <a:gd name="T17" fmla="*/ 5170 w 5170"/>
              <a:gd name="T18" fmla="*/ 3266 h 326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170" h="3266">
                <a:moveTo>
                  <a:pt x="0" y="0"/>
                </a:moveTo>
                <a:lnTo>
                  <a:pt x="5170" y="0"/>
                </a:lnTo>
                <a:lnTo>
                  <a:pt x="4535" y="3266"/>
                </a:lnTo>
                <a:lnTo>
                  <a:pt x="0" y="3266"/>
                </a:lnTo>
                <a:lnTo>
                  <a:pt x="0" y="0"/>
                </a:lnTo>
                <a:close/>
              </a:path>
            </a:pathLst>
          </a:custGeom>
          <a:solidFill>
            <a:srgbClr val="1B3277">
              <a:alpha val="90195"/>
            </a:srgb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3" name="Rechteck 12"/>
          <p:cNvSpPr/>
          <p:nvPr/>
        </p:nvSpPr>
        <p:spPr bwMode="gray">
          <a:xfrm>
            <a:off x="228600" y="2590800"/>
            <a:ext cx="4572000" cy="6858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08000" rIns="0" bIns="0"/>
          <a:lstStyle/>
          <a:p>
            <a:pPr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ranselectrica SA</a:t>
            </a:r>
          </a:p>
        </p:txBody>
      </p:sp>
      <p:cxnSp>
        <p:nvCxnSpPr>
          <p:cNvPr id="31" name="Gerade Verbindung 16"/>
          <p:cNvCxnSpPr/>
          <p:nvPr/>
        </p:nvCxnSpPr>
        <p:spPr bwMode="gray">
          <a:xfrm>
            <a:off x="228600" y="3306763"/>
            <a:ext cx="3505200" cy="0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14"/>
          <p:cNvSpPr/>
          <p:nvPr/>
        </p:nvSpPr>
        <p:spPr bwMode="gray">
          <a:xfrm>
            <a:off x="228600" y="3124200"/>
            <a:ext cx="4495800" cy="100806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rgbClr val="FFFF99"/>
                </a:solidFill>
                <a:latin typeface="Arial" pitchFamily="34" charset="0"/>
                <a:cs typeface="Arial" pitchFamily="34" charset="0"/>
              </a:rPr>
              <a:t>c</a:t>
            </a:r>
            <a:r>
              <a:rPr lang="en-US" sz="1400" dirty="0">
                <a:solidFill>
                  <a:srgbClr val="FFFF99"/>
                </a:solidFill>
                <a:latin typeface="Arial" pitchFamily="34" charset="0"/>
                <a:cs typeface="Arial" pitchFamily="34" charset="0"/>
              </a:rPr>
              <a:t>ompanie administrat</a:t>
            </a:r>
            <a:r>
              <a:rPr lang="ro-RO" sz="1400" dirty="0">
                <a:solidFill>
                  <a:srgbClr val="FFFF99"/>
                </a:solidFill>
                <a:latin typeface="Arial" pitchFamily="34" charset="0"/>
                <a:cs typeface="Arial" pitchFamily="34" charset="0"/>
              </a:rPr>
              <a:t>ă</a:t>
            </a:r>
            <a:r>
              <a:rPr lang="en-US" sz="1400" dirty="0">
                <a:solidFill>
                  <a:srgbClr val="FFFF9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o-RO" sz="1400" dirty="0">
                <a:solidFill>
                  <a:srgbClr val="FFFF99"/>
                </a:solidFill>
                <a:latin typeface="Arial" pitchFamily="34" charset="0"/>
                <a:cs typeface="Arial" pitchFamily="34" charset="0"/>
              </a:rPr>
              <a:t>î</a:t>
            </a:r>
            <a:r>
              <a:rPr lang="en-US" sz="1400" dirty="0">
                <a:solidFill>
                  <a:srgbClr val="FFFF99"/>
                </a:solidFill>
                <a:latin typeface="Arial" pitchFamily="34" charset="0"/>
                <a:cs typeface="Arial" pitchFamily="34" charset="0"/>
              </a:rPr>
              <a:t>n sistem dualist</a:t>
            </a:r>
            <a:endParaRPr lang="en-US" sz="1400" dirty="0">
              <a:solidFill>
                <a:srgbClr val="FFFF99"/>
              </a:solidFill>
            </a:endParaRPr>
          </a:p>
        </p:txBody>
      </p:sp>
      <p:cxnSp>
        <p:nvCxnSpPr>
          <p:cNvPr id="32" name="Gerade Verbindung 21"/>
          <p:cNvCxnSpPr/>
          <p:nvPr/>
        </p:nvCxnSpPr>
        <p:spPr bwMode="gray">
          <a:xfrm>
            <a:off x="228600" y="3962400"/>
            <a:ext cx="3498850" cy="0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65" name="TextBox 10"/>
          <p:cNvSpPr txBox="1">
            <a:spLocks noChangeArrowheads="1"/>
          </p:cNvSpPr>
          <p:nvPr/>
        </p:nvSpPr>
        <p:spPr bwMode="auto">
          <a:xfrm>
            <a:off x="4495800" y="4937125"/>
            <a:ext cx="4267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>
                <a:solidFill>
                  <a:srgbClr val="1B3277"/>
                </a:solidFill>
                <a:latin typeface="Arial Black" pitchFamily="34" charset="0"/>
              </a:rPr>
              <a:t>Gala Doamne in Energie</a:t>
            </a:r>
            <a:endParaRPr lang="ro-RO">
              <a:solidFill>
                <a:srgbClr val="1B3277"/>
              </a:solidFill>
              <a:latin typeface="Arial Black" pitchFamily="34" charset="0"/>
            </a:endParaRPr>
          </a:p>
        </p:txBody>
      </p:sp>
      <p:sp>
        <p:nvSpPr>
          <p:cNvPr id="12" name="Rechteck 14"/>
          <p:cNvSpPr/>
          <p:nvPr/>
        </p:nvSpPr>
        <p:spPr bwMode="gray">
          <a:xfrm>
            <a:off x="228600" y="4021138"/>
            <a:ext cx="4495800" cy="39846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e lead the power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167" name="TextBox 14"/>
          <p:cNvSpPr txBox="1">
            <a:spLocks noChangeArrowheads="1"/>
          </p:cNvSpPr>
          <p:nvPr/>
        </p:nvSpPr>
        <p:spPr bwMode="auto">
          <a:xfrm>
            <a:off x="4094163" y="5507038"/>
            <a:ext cx="48006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1100">
                <a:solidFill>
                  <a:srgbClr val="1B3277"/>
                </a:solidFill>
                <a:latin typeface="Arial Black" pitchFamily="34" charset="0"/>
              </a:rPr>
              <a:t>27 Martie 2017</a:t>
            </a:r>
            <a:r>
              <a:rPr lang="en-US">
                <a:solidFill>
                  <a:srgbClr val="1B3277"/>
                </a:solidFill>
                <a:latin typeface="Arial Black" pitchFamily="34" charset="0"/>
              </a:rPr>
              <a:t> </a:t>
            </a:r>
            <a:endParaRPr lang="en-US" sz="1000">
              <a:solidFill>
                <a:srgbClr val="1B3277"/>
              </a:solidFill>
              <a:latin typeface="Arial Black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29" name="Picture 2" descr="C:\Users\mirela.mathie\Desktop\Untitle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906000" cy="142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ounded Rectangle 1"/>
          <p:cNvSpPr/>
          <p:nvPr/>
        </p:nvSpPr>
        <p:spPr>
          <a:xfrm>
            <a:off x="209550" y="3422650"/>
            <a:ext cx="4210050" cy="311150"/>
          </a:xfrm>
          <a:prstGeom prst="round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o-RO" sz="14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ofoliul de operațiuni</a:t>
            </a:r>
            <a:endParaRPr lang="en-US" sz="1400" b="1" dirty="0"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Text Box 9"/>
          <p:cNvSpPr txBox="1">
            <a:spLocks noChangeArrowheads="1"/>
          </p:cNvSpPr>
          <p:nvPr/>
        </p:nvSpPr>
        <p:spPr bwMode="auto">
          <a:xfrm>
            <a:off x="1876425" y="115888"/>
            <a:ext cx="797242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o-RO" altLang="ro-RO" sz="2600" b="1">
                <a:solidFill>
                  <a:srgbClr val="24297A"/>
                </a:solidFill>
              </a:rPr>
              <a:t>PROFILUL AFACERII TRANSELECTRICA</a:t>
            </a:r>
            <a:endParaRPr lang="en-US" altLang="ro-RO" sz="2600" b="1">
              <a:solidFill>
                <a:srgbClr val="24297A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5391150" y="3422650"/>
            <a:ext cx="4210050" cy="311150"/>
          </a:xfrm>
          <a:prstGeom prst="round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o-RO" sz="14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ționariat</a:t>
            </a:r>
            <a:endParaRPr lang="en-US" sz="1400" b="1" dirty="0"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Diagram 4"/>
          <p:cNvGraphicFramePr/>
          <p:nvPr/>
        </p:nvGraphicFramePr>
        <p:xfrm>
          <a:off x="152400" y="1477395"/>
          <a:ext cx="2286000" cy="15554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22534" name="Group 2"/>
          <p:cNvGrpSpPr>
            <a:grpSpLocks/>
          </p:cNvGrpSpPr>
          <p:nvPr/>
        </p:nvGrpSpPr>
        <p:grpSpPr bwMode="auto">
          <a:xfrm>
            <a:off x="2465388" y="1527175"/>
            <a:ext cx="4545012" cy="1468438"/>
            <a:chOff x="2925205" y="1828800"/>
            <a:chExt cx="4924425" cy="1726637"/>
          </a:xfrm>
        </p:grpSpPr>
        <p:pic>
          <p:nvPicPr>
            <p:cNvPr id="7" name="Picture 6"/>
            <p:cNvPicPr>
              <a:picLocks noChangeAspect="1" noChangeArrowheads="1"/>
            </p:cNvPicPr>
            <p:nvPr/>
          </p:nvPicPr>
          <p:blipFill rotWithShape="1">
            <a:blip r:embed="rId9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</a:blip>
            <a:srcRect t="23662" b="32535"/>
            <a:stretch/>
          </p:blipFill>
          <p:spPr bwMode="auto">
            <a:xfrm>
              <a:off x="2925205" y="2026920"/>
              <a:ext cx="4924425" cy="1097280"/>
            </a:xfrm>
            <a:prstGeom prst="rect">
              <a:avLst/>
            </a:prstGeom>
            <a:noFill/>
            <a:ln w="1">
              <a:noFill/>
              <a:miter lim="800000"/>
              <a:headEnd/>
              <a:tailEnd type="none" w="med" len="med"/>
            </a:ln>
            <a:effectLst/>
          </p:spPr>
        </p:pic>
        <p:sp>
          <p:nvSpPr>
            <p:cNvPr id="8" name="Rounded Rectangle 7"/>
            <p:cNvSpPr/>
            <p:nvPr/>
          </p:nvSpPr>
          <p:spPr>
            <a:xfrm>
              <a:off x="4392384" y="1828800"/>
              <a:ext cx="1419019" cy="1439175"/>
            </a:xfrm>
            <a:prstGeom prst="roundRect">
              <a:avLst/>
            </a:prstGeom>
            <a:solidFill>
              <a:schemeClr val="accent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graphicFrame>
          <p:nvGraphicFramePr>
            <p:cNvPr id="9" name="Diagram 8"/>
            <p:cNvGraphicFramePr/>
            <p:nvPr/>
          </p:nvGraphicFramePr>
          <p:xfrm>
            <a:off x="3143302" y="3267406"/>
            <a:ext cx="4225430" cy="288031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0" r:lo="rId11" r:qs="rId12" r:cs="rId13"/>
            </a:graphicData>
          </a:graphic>
        </p:graphicFrame>
      </p:grpSp>
      <p:sp>
        <p:nvSpPr>
          <p:cNvPr id="10" name="Rounded Rectangle 9"/>
          <p:cNvSpPr/>
          <p:nvPr/>
        </p:nvSpPr>
        <p:spPr>
          <a:xfrm>
            <a:off x="6891338" y="1730375"/>
            <a:ext cx="2800350" cy="148113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22225">
            <a:noFill/>
          </a:ln>
        </p:spPr>
        <p:txBody>
          <a:bodyPr>
            <a:spAutoFit/>
          </a:bodyPr>
          <a:lstStyle/>
          <a:p>
            <a:pPr marL="91440" algn="just" fontAlgn="auto">
              <a:spcBef>
                <a:spcPts val="0"/>
              </a:spcBef>
              <a:spcAft>
                <a:spcPts val="0"/>
              </a:spcAft>
              <a:tabLst>
                <a:tab pos="231775" algn="l"/>
              </a:tabLst>
              <a:defRPr/>
            </a:pPr>
            <a:r>
              <a:rPr lang="ro-RO" sz="1100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or al serviciul public de transport</a:t>
            </a:r>
            <a:r>
              <a:rPr lang="en-US" sz="1100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o-RO" sz="1100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arat  de </a:t>
            </a:r>
            <a:r>
              <a:rPr lang="ro-RO" sz="1100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ață (producție </a:t>
            </a:r>
            <a:r>
              <a:rPr lang="ro-RO" sz="1100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 </a:t>
            </a:r>
            <a:r>
              <a:rPr lang="ro-RO" sz="1100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nizare)</a:t>
            </a:r>
            <a:endParaRPr lang="en-US" sz="1100" dirty="0">
              <a:solidFill>
                <a:srgbClr val="4F81BD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" lvl="1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ro-RO" sz="1100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ife reglementate</a:t>
            </a:r>
            <a:endParaRPr lang="en-US" sz="1100" dirty="0">
              <a:solidFill>
                <a:srgbClr val="4F81BD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" lvl="1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ro-RO" altLang="en-US" sz="1100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 financiar defensiv</a:t>
            </a:r>
            <a:endParaRPr lang="en-US" altLang="en-US" sz="1100" dirty="0">
              <a:solidFill>
                <a:srgbClr val="4F81BD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" lvl="1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ro-RO" altLang="en-US" sz="1100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US" altLang="en-US" sz="1100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h-flow</a:t>
            </a:r>
            <a:r>
              <a:rPr lang="ro-RO" altLang="en-US" sz="1100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abil și predictibil</a:t>
            </a:r>
            <a:endParaRPr lang="ro-RO" altLang="en-US" sz="1100" dirty="0">
              <a:solidFill>
                <a:srgbClr val="4F81BD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6891338" y="1425575"/>
            <a:ext cx="2794000" cy="271463"/>
          </a:xfrm>
          <a:prstGeom prst="round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o-RO" sz="14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 general</a:t>
            </a:r>
            <a:endParaRPr lang="en-US" sz="1400" b="1" dirty="0"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537" name="Chart 13"/>
          <p:cNvGraphicFramePr>
            <a:graphicFrameLocks/>
          </p:cNvGraphicFramePr>
          <p:nvPr/>
        </p:nvGraphicFramePr>
        <p:xfrm>
          <a:off x="6099175" y="3892550"/>
          <a:ext cx="2794000" cy="1517650"/>
        </p:xfrm>
        <a:graphic>
          <a:graphicData uri="http://schemas.openxmlformats.org/presentationml/2006/ole">
            <p:oleObj spid="_x0000_s22537" r:id="rId15" imgW="2792210" imgH="1511939" progId="Excel.Chart.8">
              <p:embed/>
            </p:oleObj>
          </a:graphicData>
        </a:graphic>
      </p:graphicFrame>
      <p:sp>
        <p:nvSpPr>
          <p:cNvPr id="22538" name="TextBox 14"/>
          <p:cNvSpPr txBox="1">
            <a:spLocks noChangeArrowheads="1"/>
          </p:cNvSpPr>
          <p:nvPr/>
        </p:nvSpPr>
        <p:spPr bwMode="auto">
          <a:xfrm>
            <a:off x="8210550" y="4860925"/>
            <a:ext cx="71437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o-RO" sz="1200">
                <a:solidFill>
                  <a:srgbClr val="10253F"/>
                </a:solidFill>
              </a:rPr>
              <a:t>Statul Român</a:t>
            </a:r>
            <a:endParaRPr lang="en-US" sz="1200">
              <a:solidFill>
                <a:srgbClr val="10253F"/>
              </a:solidFill>
            </a:endParaRPr>
          </a:p>
        </p:txBody>
      </p:sp>
      <p:sp>
        <p:nvSpPr>
          <p:cNvPr id="22539" name="TextBox 15"/>
          <p:cNvSpPr txBox="1">
            <a:spLocks noChangeArrowheads="1"/>
          </p:cNvSpPr>
          <p:nvPr/>
        </p:nvSpPr>
        <p:spPr bwMode="auto">
          <a:xfrm>
            <a:off x="5848350" y="4403725"/>
            <a:ext cx="99060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o-RO" sz="1200">
                <a:solidFill>
                  <a:srgbClr val="10253F"/>
                </a:solidFill>
              </a:rPr>
              <a:t>Alți Acționari</a:t>
            </a:r>
            <a:endParaRPr lang="en-US" sz="1200">
              <a:solidFill>
                <a:srgbClr val="10253F"/>
              </a:solidFill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6318250" y="4556125"/>
            <a:ext cx="4953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920038" y="5013325"/>
            <a:ext cx="4953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42" name="TextBox 18"/>
          <p:cNvSpPr txBox="1">
            <a:spLocks noChangeArrowheads="1"/>
          </p:cNvSpPr>
          <p:nvPr/>
        </p:nvSpPr>
        <p:spPr bwMode="auto">
          <a:xfrm>
            <a:off x="6432550" y="5699125"/>
            <a:ext cx="1949450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o-RO" sz="900">
                <a:solidFill>
                  <a:srgbClr val="0D0D0D"/>
                </a:solidFill>
              </a:rPr>
              <a:t>31 DEC 201</a:t>
            </a:r>
            <a:r>
              <a:rPr lang="en-US" sz="900">
                <a:solidFill>
                  <a:srgbClr val="0D0D0D"/>
                </a:solidFill>
              </a:rPr>
              <a:t>6</a:t>
            </a:r>
          </a:p>
        </p:txBody>
      </p:sp>
      <p:pic>
        <p:nvPicPr>
          <p:cNvPr id="22543" name="Picture 2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360363" y="4027488"/>
            <a:ext cx="4210050" cy="1973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44" name="Picture 11" descr="http://upload.wikimedia.org/wikipedia/ro/d/d4/Transelectrica_Logo.png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4178300" y="914400"/>
            <a:ext cx="588963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Text Box 9"/>
          <p:cNvSpPr txBox="1">
            <a:spLocks noChangeArrowheads="1"/>
          </p:cNvSpPr>
          <p:nvPr/>
        </p:nvSpPr>
        <p:spPr bwMode="auto">
          <a:xfrm>
            <a:off x="1876425" y="115888"/>
            <a:ext cx="797242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o-RO" altLang="ro-RO" sz="2600" b="1">
                <a:solidFill>
                  <a:srgbClr val="24297A"/>
                </a:solidFill>
              </a:rPr>
              <a:t>PROFILUL AFACERII TRANSELECTRICA</a:t>
            </a:r>
            <a:endParaRPr lang="en-US" altLang="ro-RO" sz="2600" b="1">
              <a:solidFill>
                <a:srgbClr val="24297A"/>
              </a:solidFill>
            </a:endParaRPr>
          </a:p>
        </p:txBody>
      </p:sp>
      <p:graphicFrame>
        <p:nvGraphicFramePr>
          <p:cNvPr id="5" name="Diagram 4"/>
          <p:cNvGraphicFramePr/>
          <p:nvPr/>
        </p:nvGraphicFramePr>
        <p:xfrm>
          <a:off x="152400" y="1477395"/>
          <a:ext cx="2286000" cy="15554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3555" name="Chart 13"/>
          <p:cNvGraphicFramePr>
            <a:graphicFrameLocks/>
          </p:cNvGraphicFramePr>
          <p:nvPr/>
        </p:nvGraphicFramePr>
        <p:xfrm>
          <a:off x="6099175" y="3892550"/>
          <a:ext cx="2794000" cy="1517650"/>
        </p:xfrm>
        <a:graphic>
          <a:graphicData uri="http://schemas.openxmlformats.org/presentationml/2006/ole">
            <p:oleObj spid="_x0000_s23555" r:id="rId8" imgW="2792210" imgH="1511939" progId="Excel.Chart.8">
              <p:embed/>
            </p:oleObj>
          </a:graphicData>
        </a:graphic>
      </p:graphicFrame>
      <p:sp>
        <p:nvSpPr>
          <p:cNvPr id="23556" name="Text Box 9"/>
          <p:cNvSpPr txBox="1">
            <a:spLocks noChangeArrowheads="1"/>
          </p:cNvSpPr>
          <p:nvPr/>
        </p:nvSpPr>
        <p:spPr bwMode="auto">
          <a:xfrm>
            <a:off x="1600200" y="42863"/>
            <a:ext cx="797242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endParaRPr lang="en-US" altLang="ro-RO" sz="2600" b="1">
              <a:solidFill>
                <a:srgbClr val="24297A"/>
              </a:solidFill>
            </a:endParaRPr>
          </a:p>
        </p:txBody>
      </p:sp>
      <p:pic>
        <p:nvPicPr>
          <p:cNvPr id="23557" name="Picture 2" descr="C:\Users\mirela.mathie\Desktop\Untitled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0" y="0"/>
            <a:ext cx="99060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58" name="Text Box 9"/>
          <p:cNvSpPr txBox="1">
            <a:spLocks noChangeArrowheads="1"/>
          </p:cNvSpPr>
          <p:nvPr/>
        </p:nvSpPr>
        <p:spPr bwMode="auto">
          <a:xfrm>
            <a:off x="1600200" y="42863"/>
            <a:ext cx="797242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o-RO" altLang="ro-RO" sz="2600" b="1">
                <a:solidFill>
                  <a:srgbClr val="24297A"/>
                </a:solidFill>
              </a:rPr>
              <a:t>GUVERNANȚA CORPORATIVĂ</a:t>
            </a:r>
            <a:endParaRPr lang="en-US" altLang="ro-RO" sz="2600" b="1">
              <a:solidFill>
                <a:srgbClr val="24297A"/>
              </a:solidFill>
            </a:endParaRPr>
          </a:p>
        </p:txBody>
      </p:sp>
      <p:sp>
        <p:nvSpPr>
          <p:cNvPr id="24" name="Rounded Rectangle 23"/>
          <p:cNvSpPr/>
          <p:nvPr/>
        </p:nvSpPr>
        <p:spPr bwMode="ltGray">
          <a:xfrm>
            <a:off x="304800" y="1524000"/>
            <a:ext cx="2871788" cy="800100"/>
          </a:xfrm>
          <a:prstGeom prst="roundRect">
            <a:avLst/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ro-RO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G 109/2011 privind guvernanța corporativă a întreprinderil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</a:t>
            </a:r>
            <a:r>
              <a:rPr lang="ro-RO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blice</a:t>
            </a:r>
          </a:p>
        </p:txBody>
      </p:sp>
      <p:sp>
        <p:nvSpPr>
          <p:cNvPr id="25" name="Rounded Rectangle 24"/>
          <p:cNvSpPr/>
          <p:nvPr/>
        </p:nvSpPr>
        <p:spPr bwMode="ltGray">
          <a:xfrm>
            <a:off x="304800" y="2324100"/>
            <a:ext cx="2871788" cy="1368425"/>
          </a:xfrm>
          <a:prstGeom prst="roundRect">
            <a:avLst/>
          </a:prstGeom>
          <a:noFill/>
          <a:ln w="3175">
            <a:solidFill>
              <a:srgbClr val="C5E4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ro-RO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electrica este sub incidența OUG 109/2011 (58,69% din acțiuni sunt deținute de statul român)</a:t>
            </a:r>
          </a:p>
        </p:txBody>
      </p:sp>
      <p:sp>
        <p:nvSpPr>
          <p:cNvPr id="26" name="Rounded Rectangle 25"/>
          <p:cNvSpPr/>
          <p:nvPr/>
        </p:nvSpPr>
        <p:spPr bwMode="ltGray">
          <a:xfrm>
            <a:off x="439738" y="4191000"/>
            <a:ext cx="2873375" cy="1368425"/>
          </a:xfrm>
          <a:prstGeom prst="roundRect">
            <a:avLst/>
          </a:prstGeom>
          <a:noFill/>
          <a:ln w="3175">
            <a:solidFill>
              <a:srgbClr val="C5E4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ro-RO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onențele Consiliului de supraveghere și Directoratului au fost stabilite pe baza unui proces de selecție derulat în conformitate cu cerințele OUG 109/2011</a:t>
            </a:r>
          </a:p>
        </p:txBody>
      </p:sp>
      <p:sp>
        <p:nvSpPr>
          <p:cNvPr id="23562" name="TextBox 26"/>
          <p:cNvSpPr txBox="1">
            <a:spLocks noChangeArrowheads="1"/>
          </p:cNvSpPr>
          <p:nvPr/>
        </p:nvSpPr>
        <p:spPr bwMode="auto">
          <a:xfrm>
            <a:off x="4114800" y="925513"/>
            <a:ext cx="5364163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o-RO" b="1">
                <a:solidFill>
                  <a:srgbClr val="1F497D"/>
                </a:solidFill>
              </a:rPr>
              <a:t>SISTEM </a:t>
            </a:r>
            <a:r>
              <a:rPr lang="en-US" b="1">
                <a:solidFill>
                  <a:srgbClr val="1F497D"/>
                </a:solidFill>
              </a:rPr>
              <a:t>DE ADMINISTRARE </a:t>
            </a:r>
            <a:r>
              <a:rPr lang="ro-RO" b="1">
                <a:solidFill>
                  <a:srgbClr val="1F497D"/>
                </a:solidFill>
              </a:rPr>
              <a:t>DUALIST</a:t>
            </a:r>
            <a:endParaRPr lang="en-US" b="1">
              <a:solidFill>
                <a:srgbClr val="1F497D"/>
              </a:solidFill>
            </a:endParaRPr>
          </a:p>
        </p:txBody>
      </p:sp>
      <p:sp>
        <p:nvSpPr>
          <p:cNvPr id="28" name="Rounded Rectangle 27"/>
          <p:cNvSpPr/>
          <p:nvPr/>
        </p:nvSpPr>
        <p:spPr bwMode="ltGray">
          <a:xfrm>
            <a:off x="4211638" y="1509713"/>
            <a:ext cx="5172075" cy="431800"/>
          </a:xfrm>
          <a:prstGeom prst="roundRect">
            <a:avLst/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o-RO" sz="14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liu de Supraveghere</a:t>
            </a:r>
            <a:endParaRPr lang="ro-RO" sz="1400" b="1" dirty="0"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ounded Rectangle 28"/>
          <p:cNvSpPr/>
          <p:nvPr/>
        </p:nvSpPr>
        <p:spPr bwMode="ltGray">
          <a:xfrm>
            <a:off x="4241800" y="2044700"/>
            <a:ext cx="2555875" cy="16891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ro-RO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membri (1 președinte)</a:t>
            </a:r>
          </a:p>
          <a:p>
            <a:pPr marL="171450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ro-RO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date pe</a:t>
            </a:r>
            <a:r>
              <a:rPr lang="en-US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tru</a:t>
            </a:r>
            <a:r>
              <a:rPr lang="ro-RO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 ani</a:t>
            </a:r>
          </a:p>
          <a:p>
            <a:pPr marL="171450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ro-RO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tete consultative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365760" lvl="1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minalizare</a:t>
            </a: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 </a:t>
            </a:r>
            <a:r>
              <a:rPr lang="en-US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US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unerare</a:t>
            </a:r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5760" lvl="1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dit</a:t>
            </a:r>
          </a:p>
          <a:p>
            <a:pPr marL="365760" lvl="1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r</a:t>
            </a: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</a:t>
            </a: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US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zvoltare</a:t>
            </a:r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5760" lvl="1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itate energetic</a:t>
            </a:r>
            <a:r>
              <a:rPr lang="ro-RO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ă</a:t>
            </a:r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5760" lvl="1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</a:t>
            </a:r>
            <a:r>
              <a:rPr lang="ro-RO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ț</a:t>
            </a:r>
            <a:r>
              <a:rPr lang="en-US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a</a:t>
            </a: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u </a:t>
            </a:r>
            <a:r>
              <a:rPr lang="en-US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rit</a:t>
            </a:r>
            <a:r>
              <a:rPr lang="ro-RO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ăț</a:t>
            </a:r>
            <a:r>
              <a:rPr lang="en-US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e</a:t>
            </a: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lementare</a:t>
            </a: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</a:t>
            </a:r>
            <a:r>
              <a:rPr lang="en-US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US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tegie</a:t>
            </a:r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4BACC6"/>
              </a:buClr>
              <a:defRPr/>
            </a:pPr>
            <a:endParaRPr lang="it-IT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ounded Rectangle 29"/>
          <p:cNvSpPr/>
          <p:nvPr/>
        </p:nvSpPr>
        <p:spPr bwMode="ltGray">
          <a:xfrm>
            <a:off x="7021513" y="2057400"/>
            <a:ext cx="2457450" cy="1676400"/>
          </a:xfrm>
          <a:prstGeom prst="roundRect">
            <a:avLst/>
          </a:prstGeom>
          <a:noFill/>
          <a:ln w="3175">
            <a:solidFill>
              <a:srgbClr val="C5E4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Aft>
                <a:spcPts val="600"/>
              </a:spcAft>
              <a:buClr>
                <a:srgbClr val="4BACC6"/>
              </a:buClr>
              <a:defRPr/>
            </a:pPr>
            <a:r>
              <a:rPr lang="ro-RO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onența la </a:t>
            </a:r>
            <a:r>
              <a:rPr lang="ro-RO" sz="12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curentă</a:t>
            </a:r>
            <a:endParaRPr lang="vi-VN" sz="1200" dirty="0">
              <a:solidFill>
                <a:schemeClr val="tx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marL="182880" lvl="1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os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chia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latea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reședinte)</a:t>
            </a:r>
          </a:p>
          <a:p>
            <a:pPr marL="182880" lvl="1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ro-RO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idiu </a:t>
            </a: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risor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topolescu</a:t>
            </a:r>
            <a:endParaRPr lang="ro-RO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880" lvl="1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ro-RO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du </a:t>
            </a:r>
            <a:r>
              <a:rPr lang="ro-RO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gică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880" lvl="1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ro-RO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iel-Cristian </a:t>
            </a:r>
            <a:r>
              <a:rPr lang="ro-RO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îrvulescu</a:t>
            </a:r>
          </a:p>
          <a:p>
            <a:pPr marL="182880" lvl="1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stin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halache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880" lvl="1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rin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xandru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dea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880" lvl="1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prian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los</a:t>
            </a:r>
            <a:endParaRPr lang="ro-RO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ounded Rectangle 30"/>
          <p:cNvSpPr/>
          <p:nvPr/>
        </p:nvSpPr>
        <p:spPr bwMode="ltGray">
          <a:xfrm>
            <a:off x="4237038" y="3886200"/>
            <a:ext cx="5172075" cy="431800"/>
          </a:xfrm>
          <a:prstGeom prst="roundRect">
            <a:avLst/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o-RO" sz="14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orat</a:t>
            </a:r>
            <a:endParaRPr lang="ro-RO" sz="1400" b="1" dirty="0"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ounded Rectangle 31"/>
          <p:cNvSpPr/>
          <p:nvPr/>
        </p:nvSpPr>
        <p:spPr bwMode="ltGray">
          <a:xfrm>
            <a:off x="4237038" y="4403725"/>
            <a:ext cx="2555875" cy="138747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o-RO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mbri (1 președinte)</a:t>
            </a:r>
          </a:p>
          <a:p>
            <a:pPr marL="171450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ro-RO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date pe</a:t>
            </a:r>
            <a:r>
              <a:rPr lang="en-US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tru</a:t>
            </a:r>
            <a:r>
              <a:rPr lang="ro-RO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 ani</a:t>
            </a:r>
          </a:p>
          <a:p>
            <a:pPr marL="171450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endParaRPr lang="en-US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4BACC6"/>
              </a:buClr>
              <a:defRPr/>
            </a:pPr>
            <a:endParaRPr lang="it-IT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ounded Rectangle 32"/>
          <p:cNvSpPr/>
          <p:nvPr/>
        </p:nvSpPr>
        <p:spPr bwMode="ltGray">
          <a:xfrm>
            <a:off x="7099300" y="4403725"/>
            <a:ext cx="2381250" cy="1387475"/>
          </a:xfrm>
          <a:prstGeom prst="roundRect">
            <a:avLst/>
          </a:prstGeom>
          <a:noFill/>
          <a:ln w="3175">
            <a:solidFill>
              <a:srgbClr val="C5E4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Aft>
                <a:spcPts val="600"/>
              </a:spcAft>
              <a:buClr>
                <a:srgbClr val="4BACC6"/>
              </a:buClr>
              <a:defRPr/>
            </a:pPr>
            <a:r>
              <a:rPr lang="ro-RO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onenț</a:t>
            </a:r>
            <a:r>
              <a:rPr lang="ro-RO" sz="12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la data curentă</a:t>
            </a:r>
            <a:endParaRPr lang="vi-VN" sz="1200" dirty="0">
              <a:solidFill>
                <a:schemeClr val="tx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marL="182880" lvl="1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ro-RO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n-Toni Teau (președinte)</a:t>
            </a:r>
          </a:p>
          <a:p>
            <a:pPr marL="182880" lvl="1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ro-RO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avian Lohan</a:t>
            </a:r>
          </a:p>
          <a:p>
            <a:pPr marL="182880" lvl="1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ro-RO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antin Văduva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880" lvl="1" indent="-171450">
              <a:buClr>
                <a:srgbClr val="4BACC6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rcea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ma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ran</a:t>
            </a:r>
            <a:endParaRPr lang="ro-RO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90" name="Object 2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190" name="think-cell Slide" r:id="rId16" imgW="360" imgH="360" progId="">
              <p:embed/>
            </p:oleObj>
          </a:graphicData>
        </a:graphic>
      </p:graphicFrame>
      <p:sp>
        <p:nvSpPr>
          <p:cNvPr id="35" name="Rectangle 3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defRPr/>
            </a:pPr>
            <a:endParaRPr lang="en-US" sz="1200" dirty="0">
              <a:latin typeface="Arial"/>
              <a:cs typeface="Arial"/>
              <a:sym typeface="Arial"/>
            </a:endParaRPr>
          </a:p>
        </p:txBody>
      </p:sp>
      <p:graphicFrame>
        <p:nvGraphicFramePr>
          <p:cNvPr id="7191" name="Object 23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5295900" y="1257300"/>
          <a:ext cx="4257675" cy="1800225"/>
        </p:xfrm>
        <a:graphic>
          <a:graphicData uri="http://schemas.openxmlformats.org/presentationml/2006/ole">
            <p:oleObj spid="_x0000_s7191" name="Chart" r:id="rId17" imgW="4259634" imgH="1798392" progId="MSGraph.Chart.8">
              <p:embed followColorScheme="full"/>
            </p:oleObj>
          </a:graphicData>
        </a:graphic>
      </p:graphicFrame>
      <p:sp>
        <p:nvSpPr>
          <p:cNvPr id="7193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091363" y="2976563"/>
            <a:ext cx="3238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buFont typeface="Arial" charset="0"/>
              <a:buNone/>
            </a:pPr>
            <a:fld id="{A67F5091-9A25-4BD4-9264-1D35AECF630D}" type="datetime'''''''''''20''''2''''''''0'''''''''''''''''''">
              <a:rPr lang="en-US" altLang="en-US" sz="1100">
                <a:sym typeface="Arial" charset="0"/>
              </a:rPr>
              <a:pPr algn="ctr">
                <a:buFont typeface="Arial" charset="0"/>
                <a:buNone/>
              </a:pPr>
              <a:t>2020</a:t>
            </a:fld>
            <a:endParaRPr lang="en-US" sz="1100">
              <a:sym typeface="Arial" charset="0"/>
            </a:endParaRPr>
          </a:p>
        </p:txBody>
      </p:sp>
      <p:sp>
        <p:nvSpPr>
          <p:cNvPr id="7194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924550" y="2976563"/>
            <a:ext cx="3238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buFont typeface="Arial" charset="0"/>
              <a:buNone/>
            </a:pPr>
            <a:fld id="{E6005917-22BD-4ED1-8744-A2232E5D0A72}" type="datetime'''20''''''''''''''1''''''''''7'''''''''''''''''''''''''">
              <a:rPr lang="en-US" altLang="en-US" sz="1100">
                <a:sym typeface="Arial" charset="0"/>
              </a:rPr>
              <a:pPr algn="ctr">
                <a:buFont typeface="Arial" charset="0"/>
                <a:buNone/>
              </a:pPr>
              <a:t>2017</a:t>
            </a:fld>
            <a:endParaRPr lang="en-US" sz="1100">
              <a:sym typeface="Arial" charset="0"/>
            </a:endParaRPr>
          </a:p>
        </p:txBody>
      </p:sp>
      <p:sp>
        <p:nvSpPr>
          <p:cNvPr id="7195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310313" y="2976563"/>
            <a:ext cx="3238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buFont typeface="Arial" charset="0"/>
              <a:buNone/>
            </a:pPr>
            <a:fld id="{9D58D876-527A-4A74-9938-127B7AFE8647}" type="datetime'''''''2''''0''''''''''''1''''''''''''''''''''''8'''''''">
              <a:rPr lang="en-US" altLang="en-US" sz="1100">
                <a:sym typeface="Arial" charset="0"/>
              </a:rPr>
              <a:pPr algn="ctr">
                <a:buFont typeface="Arial" charset="0"/>
                <a:buNone/>
              </a:pPr>
              <a:t>2018</a:t>
            </a:fld>
            <a:endParaRPr lang="en-US" sz="1100">
              <a:sym typeface="Arial" charset="0"/>
            </a:endParaRPr>
          </a:p>
        </p:txBody>
      </p:sp>
      <p:sp>
        <p:nvSpPr>
          <p:cNvPr id="7196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024938" y="2976563"/>
            <a:ext cx="3238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buFont typeface="Arial" charset="0"/>
              <a:buNone/>
            </a:pPr>
            <a:fld id="{5359BAA6-645D-4529-9568-C588EBF66C56}" type="datetime'''''''''''''2''''''''0''''''''2''''''''''''''''''''''5'''">
              <a:rPr lang="en-US" altLang="en-US" sz="1100">
                <a:sym typeface="Arial" charset="0"/>
              </a:rPr>
              <a:pPr algn="ctr">
                <a:buFont typeface="Arial" charset="0"/>
                <a:buNone/>
              </a:pPr>
              <a:t>2025</a:t>
            </a:fld>
            <a:endParaRPr lang="en-US" sz="1100">
              <a:sym typeface="Arial" charset="0"/>
            </a:endParaRPr>
          </a:p>
        </p:txBody>
      </p:sp>
      <p:sp>
        <p:nvSpPr>
          <p:cNvPr id="7197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862888" y="2976563"/>
            <a:ext cx="3238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buFont typeface="Arial" charset="0"/>
              <a:buNone/>
            </a:pPr>
            <a:fld id="{F91BEE18-46BC-4E6A-A21F-A98AEABE2AE3}" type="datetime'''2''''0''''''''''''''''2''''''''''2'''''''">
              <a:rPr lang="en-US" altLang="en-US" sz="1100">
                <a:sym typeface="Arial" charset="0"/>
              </a:rPr>
              <a:pPr algn="ctr">
                <a:buFont typeface="Arial" charset="0"/>
                <a:buNone/>
              </a:pPr>
              <a:t>2022</a:t>
            </a:fld>
            <a:endParaRPr lang="en-US" sz="1100">
              <a:sym typeface="Arial" charset="0"/>
            </a:endParaRPr>
          </a:p>
        </p:txBody>
      </p:sp>
      <p:sp>
        <p:nvSpPr>
          <p:cNvPr id="7198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477125" y="2976563"/>
            <a:ext cx="3238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buFont typeface="Arial" charset="0"/>
              <a:buNone/>
            </a:pPr>
            <a:fld id="{356E638D-9407-456C-86E9-F394C20B4E33}" type="datetime'''''''''2''''''''''0''''''''''2''''''''''''''1'''''''">
              <a:rPr lang="en-US" altLang="en-US" sz="1100">
                <a:sym typeface="Arial" charset="0"/>
              </a:rPr>
              <a:pPr algn="ctr">
                <a:buFont typeface="Arial" charset="0"/>
                <a:buNone/>
              </a:pPr>
              <a:t>2021</a:t>
            </a:fld>
            <a:endParaRPr lang="en-US" sz="1100">
              <a:sym typeface="Arial" charset="0"/>
            </a:endParaRPr>
          </a:p>
        </p:txBody>
      </p:sp>
      <p:sp>
        <p:nvSpPr>
          <p:cNvPr id="7199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700838" y="2976563"/>
            <a:ext cx="3238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buFont typeface="Arial" charset="0"/>
              <a:buNone/>
            </a:pPr>
            <a:fld id="{B6E88DF1-8D40-4EEC-91D2-626E942D6EF9}" type="datetime'''''''''''''''''''''''''''2''''0''''''''19'''''''''''">
              <a:rPr lang="en-US" altLang="en-US" sz="1100">
                <a:sym typeface="Arial" charset="0"/>
              </a:rPr>
              <a:pPr algn="ctr">
                <a:buFont typeface="Arial" charset="0"/>
                <a:buNone/>
              </a:pPr>
              <a:t>2019</a:t>
            </a:fld>
            <a:endParaRPr lang="en-US" sz="1100">
              <a:sym typeface="Arial" charset="0"/>
            </a:endParaRPr>
          </a:p>
        </p:txBody>
      </p:sp>
      <p:sp>
        <p:nvSpPr>
          <p:cNvPr id="7200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639175" y="2976563"/>
            <a:ext cx="3238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buFont typeface="Arial" charset="0"/>
              <a:buNone/>
            </a:pPr>
            <a:fld id="{68BC6B55-F09C-4585-AEDE-2E9B080D4752}" type="datetime'''''''''2''''0''''''''''''''2''''4'">
              <a:rPr lang="en-US" altLang="en-US" sz="1100">
                <a:sym typeface="Arial" charset="0"/>
              </a:rPr>
              <a:pPr algn="ctr">
                <a:buFont typeface="Arial" charset="0"/>
                <a:buNone/>
              </a:pPr>
              <a:t>2024</a:t>
            </a:fld>
            <a:endParaRPr lang="en-US" sz="1100">
              <a:sym typeface="Arial" charset="0"/>
            </a:endParaRPr>
          </a:p>
        </p:txBody>
      </p:sp>
      <p:sp>
        <p:nvSpPr>
          <p:cNvPr id="7201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253413" y="2976563"/>
            <a:ext cx="3238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buFont typeface="Arial" charset="0"/>
              <a:buNone/>
            </a:pPr>
            <a:fld id="{EA434A1E-B19F-4836-893F-9BEB809C5B35}" type="datetime'''''''''''''2''''''''''''''02''''''''''''''''''''''''''''3'''">
              <a:rPr lang="en-US" altLang="en-US" sz="1100">
                <a:sym typeface="Arial" charset="0"/>
              </a:rPr>
              <a:pPr algn="ctr">
                <a:buFont typeface="Arial" charset="0"/>
                <a:buNone/>
              </a:pPr>
              <a:t>2023</a:t>
            </a:fld>
            <a:endParaRPr lang="en-US" sz="1100">
              <a:sym typeface="Arial" charset="0"/>
            </a:endParaRPr>
          </a:p>
        </p:txBody>
      </p:sp>
      <p:sp>
        <p:nvSpPr>
          <p:cNvPr id="7202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538788" y="2976563"/>
            <a:ext cx="3238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buFont typeface="Arial" charset="0"/>
              <a:buNone/>
            </a:pPr>
            <a:fld id="{C1F50182-1DF4-4B10-ABB8-0C653E5196F7}" type="datetime'''''2''0''''1''''''''''6'''''''''''''''''''''''''''''''">
              <a:rPr lang="en-US" altLang="en-US" sz="1100">
                <a:sym typeface="Arial" charset="0"/>
              </a:rPr>
              <a:pPr algn="ctr">
                <a:buFont typeface="Arial" charset="0"/>
                <a:buNone/>
              </a:pPr>
              <a:t>2016</a:t>
            </a:fld>
            <a:endParaRPr lang="en-US" sz="1100">
              <a:sym typeface="Arial" charset="0"/>
            </a:endParaRPr>
          </a:p>
        </p:txBody>
      </p:sp>
      <p:sp>
        <p:nvSpPr>
          <p:cNvPr id="7203" name="TextBox 12"/>
          <p:cNvSpPr txBox="1">
            <a:spLocks noChangeArrowheads="1"/>
          </p:cNvSpPr>
          <p:nvPr/>
        </p:nvSpPr>
        <p:spPr bwMode="auto">
          <a:xfrm>
            <a:off x="5461000" y="1382713"/>
            <a:ext cx="60960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o-RO" sz="1000"/>
              <a:t>mil lei</a:t>
            </a:r>
            <a:endParaRPr lang="en-US" sz="1000"/>
          </a:p>
        </p:txBody>
      </p:sp>
      <p:sp>
        <p:nvSpPr>
          <p:cNvPr id="14" name="Oval 13"/>
          <p:cNvSpPr/>
          <p:nvPr/>
        </p:nvSpPr>
        <p:spPr>
          <a:xfrm>
            <a:off x="130175" y="1285875"/>
            <a:ext cx="1143000" cy="1143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o-RO" dirty="0">
                <a:latin typeface="Arial" panose="020B0604020202020204" pitchFamily="34" charset="0"/>
                <a:cs typeface="Arial" panose="020B0604020202020204" pitchFamily="34" charset="0"/>
              </a:rPr>
              <a:t>≈</a:t>
            </a:r>
            <a:r>
              <a:rPr lang="ro-RO" sz="3600" b="1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2200" b="1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o-RO" sz="22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mld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lei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05" name="Text Box 9"/>
          <p:cNvSpPr txBox="1">
            <a:spLocks noChangeArrowheads="1"/>
          </p:cNvSpPr>
          <p:nvPr/>
        </p:nvSpPr>
        <p:spPr bwMode="auto">
          <a:xfrm>
            <a:off x="192088" y="828675"/>
            <a:ext cx="4764087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Aft>
                <a:spcPts val="600"/>
              </a:spcAft>
            </a:pPr>
            <a:r>
              <a:rPr lang="ro-RO" altLang="ro-RO" sz="1600" b="1">
                <a:solidFill>
                  <a:srgbClr val="24297A"/>
                </a:solidFill>
              </a:rPr>
              <a:t>2016-2025</a:t>
            </a:r>
          </a:p>
        </p:txBody>
      </p:sp>
      <p:graphicFrame>
        <p:nvGraphicFramePr>
          <p:cNvPr id="16" name="Diagram 15"/>
          <p:cNvGraphicFramePr/>
          <p:nvPr/>
        </p:nvGraphicFramePr>
        <p:xfrm>
          <a:off x="-304800" y="3663950"/>
          <a:ext cx="5105400" cy="22789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4191000" y="3657600"/>
            <a:ext cx="5443538" cy="5778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vi-VN" sz="1050" dirty="0">
                <a:latin typeface="Arial" panose="020B0604020202020204" pitchFamily="34" charset="0"/>
                <a:cs typeface="Arial" panose="020B0604020202020204" pitchFamily="34" charset="0"/>
              </a:rPr>
              <a:t>Platformă integrată de dispecerizare pentru conducerea SEN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vi-VN" sz="1050" dirty="0">
                <a:latin typeface="Arial" panose="020B0604020202020204" pitchFamily="34" charset="0"/>
                <a:cs typeface="Arial" panose="020B0604020202020204" pitchFamily="34" charset="0"/>
              </a:rPr>
              <a:t>Staţiile Domneşti 400/110/20 kV, Smârdan 400/110/20 kV, Bradu 400/110/20 kV, Pelicanu 400/110 kV, Isaccea 400 </a:t>
            </a:r>
            <a:r>
              <a:rPr lang="vi-VN" sz="1050" dirty="0">
                <a:latin typeface="Arial" panose="020B0604020202020204" pitchFamily="34" charset="0"/>
                <a:cs typeface="Arial" panose="020B0604020202020204" pitchFamily="34" charset="0"/>
              </a:rPr>
              <a:t>kV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050" dirty="0" err="1">
                <a:latin typeface="Arial" panose="020B0604020202020204" pitchFamily="34" charset="0"/>
                <a:cs typeface="Arial" panose="020B0604020202020204" pitchFamily="34" charset="0"/>
              </a:rPr>
              <a:t>Turnu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50" dirty="0" err="1">
                <a:latin typeface="Arial" panose="020B0604020202020204" pitchFamily="34" charset="0"/>
                <a:cs typeface="Arial" panose="020B0604020202020204" pitchFamily="34" charset="0"/>
              </a:rPr>
              <a:t>Severin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Est 220/110 kV</a:t>
            </a:r>
            <a:r>
              <a:rPr lang="vi-VN" sz="10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1050" dirty="0">
                <a:latin typeface="Arial" panose="020B0604020202020204" pitchFamily="34" charset="0"/>
                <a:cs typeface="Arial" panose="020B0604020202020204" pitchFamily="34" charset="0"/>
              </a:rPr>
              <a:t>etc.</a:t>
            </a: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191000" y="4495800"/>
            <a:ext cx="5734050" cy="9001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vi-VN" sz="1050" dirty="0">
                <a:latin typeface="Arial" panose="020B0604020202020204" pitchFamily="34" charset="0"/>
                <a:cs typeface="Arial" panose="020B0604020202020204" pitchFamily="34" charset="0"/>
              </a:rPr>
              <a:t>LEA Gutinaș-Smârdan, LEA Cernavodă-Stâlpu, </a:t>
            </a:r>
            <a:r>
              <a:rPr lang="vi-VN" sz="1050" dirty="0">
                <a:latin typeface="Arial" panose="020B0604020202020204" pitchFamily="34" charset="0"/>
                <a:cs typeface="Arial" panose="020B0604020202020204" pitchFamily="34" charset="0"/>
              </a:rPr>
              <a:t>LEA </a:t>
            </a:r>
            <a:r>
              <a:rPr lang="vi-VN" sz="1050" dirty="0">
                <a:latin typeface="Arial" panose="020B0604020202020204" pitchFamily="34" charset="0"/>
                <a:cs typeface="Arial" panose="020B0604020202020204" pitchFamily="34" charset="0"/>
              </a:rPr>
              <a:t>Constanta Nord - Medgidia Sud (linii noi</a:t>
            </a:r>
            <a:r>
              <a:rPr lang="vi-VN" sz="105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050" dirty="0" err="1">
                <a:latin typeface="Arial" panose="020B0604020202020204" pitchFamily="34" charset="0"/>
                <a:cs typeface="Arial" panose="020B0604020202020204" pitchFamily="34" charset="0"/>
              </a:rPr>
              <a:t>Statia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50" dirty="0" err="1">
                <a:latin typeface="Arial" panose="020B0604020202020204" pitchFamily="34" charset="0"/>
                <a:cs typeface="Arial" panose="020B0604020202020204" pitchFamily="34" charset="0"/>
              </a:rPr>
              <a:t>Stalpu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400 kV (</a:t>
            </a:r>
            <a:r>
              <a:rPr lang="en-US" sz="1050" dirty="0" err="1">
                <a:latin typeface="Arial" panose="020B0604020202020204" pitchFamily="34" charset="0"/>
                <a:cs typeface="Arial" panose="020B0604020202020204" pitchFamily="34" charset="0"/>
              </a:rPr>
              <a:t>statie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50" dirty="0" err="1">
                <a:latin typeface="Arial" panose="020B0604020202020204" pitchFamily="34" charset="0"/>
                <a:cs typeface="Arial" panose="020B0604020202020204" pitchFamily="34" charset="0"/>
              </a:rPr>
              <a:t>noua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vi-VN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vi-VN" sz="1050" dirty="0">
                <a:latin typeface="Arial" panose="020B0604020202020204" pitchFamily="34" charset="0"/>
                <a:cs typeface="Arial" panose="020B0604020202020204" pitchFamily="34" charset="0"/>
              </a:rPr>
              <a:t>LEA Brazi Vest - Teleajen – Stalpu (trecere la 400 kV)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o-RO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191000" y="5284788"/>
            <a:ext cx="5443538" cy="738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vi-VN" sz="1050" dirty="0">
                <a:latin typeface="Arial" panose="020B0604020202020204" pitchFamily="34" charset="0"/>
                <a:cs typeface="Arial" panose="020B0604020202020204" pitchFamily="34" charset="0"/>
              </a:rPr>
              <a:t>Axul Banat</a:t>
            </a:r>
            <a:r>
              <a:rPr lang="vi-VN" sz="105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LEA</a:t>
            </a:r>
            <a:r>
              <a:rPr lang="vi-VN" sz="10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1050" dirty="0">
                <a:latin typeface="Arial" panose="020B0604020202020204" pitchFamily="34" charset="0"/>
                <a:cs typeface="Arial" panose="020B0604020202020204" pitchFamily="34" charset="0"/>
              </a:rPr>
              <a:t>Porțile de Fier –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Resita-Timisoara-</a:t>
            </a:r>
            <a:r>
              <a:rPr lang="en-US" sz="1050" dirty="0" err="1">
                <a:latin typeface="Arial" panose="020B0604020202020204" pitchFamily="34" charset="0"/>
                <a:cs typeface="Arial" panose="020B0604020202020204" pitchFamily="34" charset="0"/>
              </a:rPr>
              <a:t>Sacalaz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vi-VN" sz="1050" dirty="0">
                <a:latin typeface="Arial" panose="020B0604020202020204" pitchFamily="34" charset="0"/>
                <a:cs typeface="Arial" panose="020B0604020202020204" pitchFamily="34" charset="0"/>
              </a:rPr>
              <a:t>Arad </a:t>
            </a:r>
            <a:r>
              <a:rPr lang="vi-VN" sz="1050" dirty="0">
                <a:latin typeface="Arial" panose="020B0604020202020204" pitchFamily="34" charset="0"/>
                <a:cs typeface="Arial" panose="020B0604020202020204" pitchFamily="34" charset="0"/>
              </a:rPr>
              <a:t>(trecere la 400 kV)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vi-VN" sz="1050" dirty="0">
                <a:latin typeface="Arial" panose="020B0604020202020204" pitchFamily="34" charset="0"/>
                <a:cs typeface="Arial" panose="020B0604020202020204" pitchFamily="34" charset="0"/>
              </a:rPr>
              <a:t>LEA Gădălin-Suceava (linie nouă)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vi-VN" sz="1050" dirty="0">
                <a:latin typeface="Arial" panose="020B0604020202020204" pitchFamily="34" charset="0"/>
                <a:cs typeface="Arial" panose="020B0604020202020204" pitchFamily="34" charset="0"/>
              </a:rPr>
              <a:t>LEA Suceava (RO) – Bălți (MD) (linie nouă</a:t>
            </a:r>
            <a:r>
              <a:rPr lang="vi-VN" sz="105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LEA Resita (RO)- </a:t>
            </a:r>
            <a:r>
              <a:rPr lang="en-US" sz="1050" dirty="0" err="1">
                <a:latin typeface="Arial" panose="020B0604020202020204" pitchFamily="34" charset="0"/>
                <a:cs typeface="Arial" panose="020B0604020202020204" pitchFamily="34" charset="0"/>
              </a:rPr>
              <a:t>Pancevo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(Serbia) –(</a:t>
            </a:r>
            <a:r>
              <a:rPr lang="en-US" sz="1050" dirty="0" err="1">
                <a:latin typeface="Arial" panose="020B0604020202020204" pitchFamily="34" charset="0"/>
                <a:cs typeface="Arial" panose="020B0604020202020204" pitchFamily="34" charset="0"/>
              </a:rPr>
              <a:t>linie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50" dirty="0" err="1">
                <a:latin typeface="Arial" panose="020B0604020202020204" pitchFamily="34" charset="0"/>
                <a:cs typeface="Arial" panose="020B0604020202020204" pitchFamily="34" charset="0"/>
              </a:rPr>
              <a:t>noua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10" name="TextBox 19"/>
          <p:cNvSpPr txBox="1">
            <a:spLocks noChangeArrowheads="1"/>
          </p:cNvSpPr>
          <p:nvPr/>
        </p:nvSpPr>
        <p:spPr bwMode="auto">
          <a:xfrm>
            <a:off x="4114800" y="3327400"/>
            <a:ext cx="36734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/>
              <a:t>Proiecte selectate (exemplificativ)</a:t>
            </a:r>
            <a:endParaRPr lang="ro-RO" sz="1200"/>
          </a:p>
        </p:txBody>
      </p:sp>
      <p:sp>
        <p:nvSpPr>
          <p:cNvPr id="21" name="Oval 20"/>
          <p:cNvSpPr/>
          <p:nvPr/>
        </p:nvSpPr>
        <p:spPr>
          <a:xfrm>
            <a:off x="1344613" y="1285875"/>
            <a:ext cx="1143000" cy="1143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12" name="TextBox 21"/>
          <p:cNvSpPr txBox="1">
            <a:spLocks noChangeArrowheads="1"/>
          </p:cNvSpPr>
          <p:nvPr/>
        </p:nvSpPr>
        <p:spPr bwMode="auto">
          <a:xfrm>
            <a:off x="1306513" y="1582738"/>
            <a:ext cx="123825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o-RO" sz="2000" b="1">
                <a:solidFill>
                  <a:schemeClr val="bg1"/>
                </a:solidFill>
              </a:rPr>
              <a:t>1</a:t>
            </a:r>
            <a:r>
              <a:rPr lang="en-US" sz="2000" b="1">
                <a:solidFill>
                  <a:schemeClr val="bg1"/>
                </a:solidFill>
              </a:rPr>
              <a:t>.</a:t>
            </a:r>
            <a:r>
              <a:rPr lang="ro-RO" sz="2000" b="1">
                <a:solidFill>
                  <a:schemeClr val="bg1"/>
                </a:solidFill>
              </a:rPr>
              <a:t>000</a:t>
            </a:r>
            <a:r>
              <a:rPr lang="ro-RO" sz="1200" b="1">
                <a:solidFill>
                  <a:schemeClr val="bg1"/>
                </a:solidFill>
              </a:rPr>
              <a:t>+</a:t>
            </a:r>
            <a:endParaRPr lang="en-US" sz="1200" b="1">
              <a:solidFill>
                <a:schemeClr val="bg1"/>
              </a:solidFill>
            </a:endParaRPr>
          </a:p>
          <a:p>
            <a:pPr algn="ctr"/>
            <a:r>
              <a:rPr lang="ro-RO" sz="1200">
                <a:solidFill>
                  <a:schemeClr val="bg1"/>
                </a:solidFill>
              </a:rPr>
              <a:t>km</a:t>
            </a:r>
            <a:r>
              <a:rPr lang="ro-RO" sz="1200" b="1">
                <a:solidFill>
                  <a:schemeClr val="bg1"/>
                </a:solidFill>
              </a:rPr>
              <a:t> </a:t>
            </a:r>
            <a:r>
              <a:rPr lang="en-US" sz="1200">
                <a:solidFill>
                  <a:schemeClr val="bg1"/>
                </a:solidFill>
              </a:rPr>
              <a:t>linii noi</a:t>
            </a:r>
            <a:endParaRPr lang="ro-RO" sz="1200">
              <a:solidFill>
                <a:schemeClr val="bg1"/>
              </a:solid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2609850" y="1277938"/>
            <a:ext cx="1143000" cy="1143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14" name="TextBox 23"/>
          <p:cNvSpPr txBox="1">
            <a:spLocks noChangeArrowheads="1"/>
          </p:cNvSpPr>
          <p:nvPr/>
        </p:nvSpPr>
        <p:spPr bwMode="auto">
          <a:xfrm>
            <a:off x="2554288" y="1452563"/>
            <a:ext cx="123825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40</a:t>
            </a:r>
            <a:endParaRPr lang="en-US" sz="1200" b="1">
              <a:solidFill>
                <a:schemeClr val="bg1"/>
              </a:solidFill>
            </a:endParaRPr>
          </a:p>
          <a:p>
            <a:pPr algn="ctr"/>
            <a:r>
              <a:rPr lang="ro-RO" sz="1200">
                <a:solidFill>
                  <a:schemeClr val="bg1"/>
                </a:solidFill>
              </a:rPr>
              <a:t>s</a:t>
            </a:r>
            <a:r>
              <a:rPr lang="en-US" sz="1200">
                <a:solidFill>
                  <a:schemeClr val="bg1"/>
                </a:solidFill>
              </a:rPr>
              <a:t>ta</a:t>
            </a:r>
            <a:r>
              <a:rPr lang="ro-RO" sz="1200">
                <a:solidFill>
                  <a:schemeClr val="bg1"/>
                </a:solidFill>
              </a:rPr>
              <a:t>ț</a:t>
            </a:r>
            <a:r>
              <a:rPr lang="en-US" sz="1200">
                <a:solidFill>
                  <a:schemeClr val="bg1"/>
                </a:solidFill>
              </a:rPr>
              <a:t>ii retehnologizate</a:t>
            </a:r>
            <a:endParaRPr lang="ro-RO" sz="1200">
              <a:solidFill>
                <a:schemeClr val="bg1"/>
              </a:solidFill>
            </a:endParaRPr>
          </a:p>
        </p:txBody>
      </p:sp>
      <p:pic>
        <p:nvPicPr>
          <p:cNvPr id="25" name="Imagine 166911"/>
          <p:cNvPicPr>
            <a:picLocks noChangeAspect="1"/>
          </p:cNvPicPr>
          <p:nvPr/>
        </p:nvPicPr>
        <p:blipFill>
          <a:blip r:embed="rId2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025775" y="2536825"/>
            <a:ext cx="342900" cy="357188"/>
          </a:xfrm>
          <a:prstGeom prst="rect">
            <a:avLst/>
          </a:prstGeom>
        </p:spPr>
      </p:pic>
      <p:pic>
        <p:nvPicPr>
          <p:cNvPr id="26" name="Picture 46" descr="https://d30y9cdsu7xlg0.cloudfront.net/png/4747-200.png"/>
          <p:cNvPicPr>
            <a:picLocks noChangeAspect="1" noChangeArrowheads="1"/>
          </p:cNvPicPr>
          <p:nvPr/>
        </p:nvPicPr>
        <p:blipFill>
          <a:blip r:embed="rId2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1725613" y="2489200"/>
            <a:ext cx="405689" cy="405689"/>
          </a:xfrm>
          <a:prstGeom prst="rect">
            <a:avLst/>
          </a:prstGeom>
          <a:noFill/>
          <a:extLst>
            <a:ext uri="{909E8E84-426E-40DD-AFC4-6F175D3DCCD1}"/>
          </a:extLst>
        </p:spPr>
      </p:pic>
      <p:pic>
        <p:nvPicPr>
          <p:cNvPr id="27" name="Picture 8" descr="http://www.successioncenter.com/assets/icons/128x128/coins.png"/>
          <p:cNvPicPr>
            <a:picLocks noChangeAspect="1" noChangeArrowheads="1"/>
          </p:cNvPicPr>
          <p:nvPr/>
        </p:nvPicPr>
        <p:blipFill>
          <a:blip r:embed="rId2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487363" y="2516188"/>
            <a:ext cx="352614" cy="352615"/>
          </a:xfrm>
          <a:prstGeom prst="rect">
            <a:avLst/>
          </a:prstGeom>
          <a:noFill/>
          <a:extLst>
            <a:ext uri="{909E8E84-426E-40DD-AFC4-6F175D3DCCD1}"/>
          </a:extLst>
        </p:spPr>
      </p:pic>
      <p:cxnSp>
        <p:nvCxnSpPr>
          <p:cNvPr id="28" name="Straight Connector 27"/>
          <p:cNvCxnSpPr/>
          <p:nvPr/>
        </p:nvCxnSpPr>
        <p:spPr>
          <a:xfrm>
            <a:off x="192088" y="1187450"/>
            <a:ext cx="4764087" cy="0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19" name="TextBox 28"/>
          <p:cNvSpPr txBox="1">
            <a:spLocks noChangeArrowheads="1"/>
          </p:cNvSpPr>
          <p:nvPr/>
        </p:nvSpPr>
        <p:spPr bwMode="auto">
          <a:xfrm>
            <a:off x="420688" y="3327400"/>
            <a:ext cx="36734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/>
              <a:t>Axe principale de dezvoltare RET</a:t>
            </a:r>
            <a:endParaRPr lang="ro-RO" sz="1200"/>
          </a:p>
        </p:txBody>
      </p:sp>
      <p:pic>
        <p:nvPicPr>
          <p:cNvPr id="7220" name="Imagine 166916"/>
          <p:cNvPicPr>
            <a:picLocks noChangeAspect="1"/>
          </p:cNvPicPr>
          <p:nvPr/>
        </p:nvPicPr>
        <p:blipFill>
          <a:blip r:embed="rId26"/>
          <a:srcRect/>
          <a:stretch>
            <a:fillRect/>
          </a:stretch>
        </p:blipFill>
        <p:spPr bwMode="auto">
          <a:xfrm>
            <a:off x="8848725" y="965200"/>
            <a:ext cx="858838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221" name="Picture 2"/>
          <p:cNvPicPr>
            <a:picLocks noChangeAspect="1" noChangeArrowheads="1"/>
          </p:cNvPicPr>
          <p:nvPr/>
        </p:nvPicPr>
        <p:blipFill>
          <a:blip r:embed="rId27"/>
          <a:srcRect/>
          <a:stretch>
            <a:fillRect/>
          </a:stretch>
        </p:blipFill>
        <p:spPr bwMode="auto">
          <a:xfrm>
            <a:off x="4087813" y="2519363"/>
            <a:ext cx="744537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Oval 31"/>
          <p:cNvSpPr/>
          <p:nvPr/>
        </p:nvSpPr>
        <p:spPr>
          <a:xfrm>
            <a:off x="3868738" y="1285875"/>
            <a:ext cx="1143000" cy="1143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23" name="TextBox 32"/>
          <p:cNvSpPr txBox="1">
            <a:spLocks noChangeArrowheads="1"/>
          </p:cNvSpPr>
          <p:nvPr/>
        </p:nvSpPr>
        <p:spPr bwMode="auto">
          <a:xfrm>
            <a:off x="3813175" y="1460500"/>
            <a:ext cx="1238250" cy="76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N</a:t>
            </a:r>
            <a:r>
              <a:rPr lang="ro-RO" sz="2000" b="1">
                <a:solidFill>
                  <a:schemeClr val="bg1"/>
                </a:solidFill>
              </a:rPr>
              <a:t>ou</a:t>
            </a:r>
            <a:endParaRPr lang="en-US" sz="2000" b="1">
              <a:solidFill>
                <a:schemeClr val="bg1"/>
              </a:solidFill>
            </a:endParaRPr>
          </a:p>
          <a:p>
            <a:pPr algn="ctr"/>
            <a:r>
              <a:rPr lang="ro-RO" sz="1200">
                <a:solidFill>
                  <a:schemeClr val="bg1"/>
                </a:solidFill>
              </a:rPr>
              <a:t>P</a:t>
            </a:r>
            <a:r>
              <a:rPr lang="en-US" sz="1200">
                <a:solidFill>
                  <a:schemeClr val="bg1"/>
                </a:solidFill>
              </a:rPr>
              <a:t>latform</a:t>
            </a:r>
            <a:r>
              <a:rPr lang="ro-RO" sz="1200">
                <a:solidFill>
                  <a:schemeClr val="bg1"/>
                </a:solidFill>
              </a:rPr>
              <a:t>ă nouă dispecer</a:t>
            </a:r>
          </a:p>
        </p:txBody>
      </p:sp>
      <p:sp>
        <p:nvSpPr>
          <p:cNvPr id="7224" name="TextBox 33"/>
          <p:cNvSpPr txBox="1">
            <a:spLocks noChangeArrowheads="1"/>
          </p:cNvSpPr>
          <p:nvPr/>
        </p:nvSpPr>
        <p:spPr bwMode="auto">
          <a:xfrm>
            <a:off x="5437188" y="1033463"/>
            <a:ext cx="34115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o-RO" sz="1400"/>
              <a:t>calendar capex Plan dezvoltare RET</a:t>
            </a:r>
            <a:endParaRPr lang="en-US" sz="1400"/>
          </a:p>
        </p:txBody>
      </p:sp>
      <p:sp>
        <p:nvSpPr>
          <p:cNvPr id="7225" name="Text Box 9"/>
          <p:cNvSpPr txBox="1">
            <a:spLocks noChangeArrowheads="1"/>
          </p:cNvSpPr>
          <p:nvPr/>
        </p:nvSpPr>
        <p:spPr bwMode="auto">
          <a:xfrm>
            <a:off x="1876425" y="115888"/>
            <a:ext cx="79724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altLang="ro-RO" b="1">
                <a:solidFill>
                  <a:srgbClr val="24297A"/>
                </a:solidFill>
              </a:rPr>
              <a:t>INVESTITII IN RETEAUA ELECTRICA DE TRANSPORT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029200" y="958850"/>
            <a:ext cx="4749800" cy="26463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o-RO" sz="2000" b="1" dirty="0">
                <a:latin typeface="Arial" panose="020B0604020202020204" pitchFamily="34" charset="0"/>
                <a:cs typeface="Arial" panose="020B0604020202020204" pitchFamily="34" charset="0"/>
              </a:rPr>
              <a:t>Mid Continental East Corridor 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vi-VN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ere </a:t>
            </a:r>
            <a:r>
              <a:rPr lang="vi-VN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400 kV a </a:t>
            </a:r>
            <a:r>
              <a:rPr lang="en-US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xului</a:t>
            </a:r>
            <a:r>
              <a:rPr lang="en-US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vi-VN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 </a:t>
            </a:r>
            <a:r>
              <a:rPr lang="vi-VN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0 kV d.c. Reşiţa –Timişoara – Săcălaz – </a:t>
            </a:r>
            <a:r>
              <a:rPr lang="vi-VN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ad,</a:t>
            </a:r>
            <a:endParaRPr lang="en-US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vi-VN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siv </a:t>
            </a:r>
            <a:r>
              <a:rPr lang="vi-VN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ruirea staţiilor de 400 kV </a:t>
            </a:r>
            <a:r>
              <a:rPr lang="en-US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ta,</a:t>
            </a:r>
            <a:r>
              <a:rPr lang="vi-VN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işoara </a:t>
            </a:r>
            <a:r>
              <a:rPr lang="vi-VN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şi Săcălaz</a:t>
            </a:r>
            <a:r>
              <a:rPr lang="vi-VN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o-RO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o-RO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diu – </a:t>
            </a:r>
            <a:r>
              <a:rPr lang="en-US" sz="11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cutie</a:t>
            </a:r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apa</a:t>
            </a:r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 + </a:t>
            </a:r>
            <a:r>
              <a:rPr lang="ro-RO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iectare</a:t>
            </a:r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apele</a:t>
            </a:r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I </a:t>
            </a:r>
            <a:r>
              <a:rPr lang="en-US" sz="11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</a:t>
            </a:r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II</a:t>
            </a:r>
            <a:endParaRPr lang="ro-RO" sz="11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o-RO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men </a:t>
            </a:r>
            <a:r>
              <a:rPr lang="ro-RO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 de finalizare </a:t>
            </a:r>
            <a:r>
              <a:rPr lang="ro-RO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2023</a:t>
            </a:r>
            <a:endParaRPr lang="en-US" sz="11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o-RO" sz="11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o-RO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 </a:t>
            </a:r>
            <a:r>
              <a:rPr lang="ro-RO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0kV </a:t>
            </a:r>
            <a:r>
              <a:rPr lang="ro-RO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şiţa-Pancevo</a:t>
            </a:r>
          </a:p>
          <a:p>
            <a:pPr lvl="1"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o-RO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diu - execuție</a:t>
            </a:r>
          </a:p>
          <a:p>
            <a:pPr lvl="1"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o-RO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men </a:t>
            </a:r>
            <a:r>
              <a:rPr lang="ro-RO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 de finalizare </a:t>
            </a:r>
            <a:r>
              <a:rPr lang="ro-RO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2017</a:t>
            </a:r>
            <a:endParaRPr lang="en-US" sz="11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o-RO" sz="11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626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724400" y="1368425"/>
            <a:ext cx="414338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27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02175" y="2647950"/>
            <a:ext cx="414338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28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746625" y="4140200"/>
            <a:ext cx="4159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Box 16"/>
          <p:cNvSpPr txBox="1"/>
          <p:nvPr/>
        </p:nvSpPr>
        <p:spPr>
          <a:xfrm>
            <a:off x="5029200" y="3719513"/>
            <a:ext cx="4614863" cy="18764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o-RO" sz="2000" b="1" dirty="0">
                <a:latin typeface="Arial" panose="020B0604020202020204" pitchFamily="34" charset="0"/>
                <a:cs typeface="Arial" panose="020B0604020202020204" pitchFamily="34" charset="0"/>
              </a:rPr>
              <a:t>Black Sea Corridor </a:t>
            </a:r>
            <a:r>
              <a:rPr lang="ro-RO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ro-RO" sz="20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o-RO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 400kV Gutinaș-Smârdan</a:t>
            </a:r>
          </a:p>
          <a:p>
            <a:pPr lvl="1"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o-RO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diu -</a:t>
            </a:r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itere</a:t>
            </a:r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G indicatori </a:t>
            </a:r>
            <a:r>
              <a:rPr lang="en-US" sz="11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hnico-economici</a:t>
            </a:r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 expropriere </a:t>
            </a:r>
            <a:endParaRPr lang="ro-RO" sz="11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o-RO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men </a:t>
            </a:r>
            <a:r>
              <a:rPr lang="ro-RO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 de finalizare </a:t>
            </a:r>
            <a:r>
              <a:rPr lang="ro-RO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o-RO" sz="11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o-RO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 </a:t>
            </a:r>
            <a:r>
              <a:rPr lang="ro-RO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0kV </a:t>
            </a:r>
            <a:r>
              <a:rPr lang="ro-RO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navodă-Stâlpu</a:t>
            </a:r>
          </a:p>
          <a:p>
            <a:pPr lvl="1"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o-RO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diu – </a:t>
            </a:r>
            <a:r>
              <a:rPr lang="en-US" sz="11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itere</a:t>
            </a:r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G indicatori </a:t>
            </a:r>
            <a:r>
              <a:rPr lang="en-US" sz="11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hnico-economici</a:t>
            </a:r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 expropriere </a:t>
            </a:r>
            <a:endParaRPr lang="en-US" sz="11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o-RO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men </a:t>
            </a:r>
            <a:r>
              <a:rPr lang="ro-RO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 de finalizare </a:t>
            </a:r>
            <a:r>
              <a:rPr lang="ro-RO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o-RO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630" name="Freeform 24"/>
          <p:cNvSpPr>
            <a:spLocks noChangeAspect="1"/>
          </p:cNvSpPr>
          <p:nvPr/>
        </p:nvSpPr>
        <p:spPr bwMode="gray">
          <a:xfrm>
            <a:off x="76200" y="762000"/>
            <a:ext cx="4787900" cy="381000"/>
          </a:xfrm>
          <a:custGeom>
            <a:avLst/>
            <a:gdLst>
              <a:gd name="T0" fmla="*/ 0 w 5170"/>
              <a:gd name="T1" fmla="*/ 0 h 3266"/>
              <a:gd name="T2" fmla="*/ 2147483647 w 5170"/>
              <a:gd name="T3" fmla="*/ 0 h 3266"/>
              <a:gd name="T4" fmla="*/ 2147483647 w 5170"/>
              <a:gd name="T5" fmla="*/ 2147483647 h 3266"/>
              <a:gd name="T6" fmla="*/ 0 w 5170"/>
              <a:gd name="T7" fmla="*/ 2147483647 h 3266"/>
              <a:gd name="T8" fmla="*/ 0 w 5170"/>
              <a:gd name="T9" fmla="*/ 0 h 326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170"/>
              <a:gd name="T16" fmla="*/ 0 h 3266"/>
              <a:gd name="T17" fmla="*/ 5170 w 5170"/>
              <a:gd name="T18" fmla="*/ 3266 h 326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170" h="3266">
                <a:moveTo>
                  <a:pt x="0" y="0"/>
                </a:moveTo>
                <a:lnTo>
                  <a:pt x="5170" y="0"/>
                </a:lnTo>
                <a:lnTo>
                  <a:pt x="4535" y="3266"/>
                </a:lnTo>
                <a:lnTo>
                  <a:pt x="0" y="3266"/>
                </a:lnTo>
                <a:lnTo>
                  <a:pt x="0" y="0"/>
                </a:lnTo>
                <a:close/>
              </a:path>
            </a:pathLst>
          </a:custGeom>
          <a:solidFill>
            <a:srgbClr val="1B3277">
              <a:alpha val="90195"/>
            </a:srgb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r>
              <a:rPr lang="ro-RO" altLang="ro-RO" b="1">
                <a:solidFill>
                  <a:schemeClr val="bg1"/>
                </a:solidFill>
              </a:rPr>
              <a:t>Proiecte de interes comun (european)</a:t>
            </a:r>
            <a:endParaRPr lang="ro-RO">
              <a:solidFill>
                <a:schemeClr val="bg1"/>
              </a:solidFill>
            </a:endParaRPr>
          </a:p>
        </p:txBody>
      </p:sp>
      <p:grpSp>
        <p:nvGrpSpPr>
          <p:cNvPr id="26631" name="Group 20"/>
          <p:cNvGrpSpPr>
            <a:grpSpLocks noChangeAspect="1"/>
          </p:cNvGrpSpPr>
          <p:nvPr/>
        </p:nvGrpSpPr>
        <p:grpSpPr bwMode="auto">
          <a:xfrm>
            <a:off x="-838200" y="1981200"/>
            <a:ext cx="4945063" cy="3068638"/>
            <a:chOff x="5029200" y="762000"/>
            <a:chExt cx="3329533" cy="2066594"/>
          </a:xfrm>
        </p:grpSpPr>
        <p:pic>
          <p:nvPicPr>
            <p:cNvPr id="26634" name="Imagine 166916"/>
            <p:cNvPicPr>
              <a:picLocks noChangeAspect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6043205" y="762000"/>
              <a:ext cx="2315528" cy="1707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4" name="Straight Connector 3"/>
            <p:cNvCxnSpPr/>
            <p:nvPr/>
          </p:nvCxnSpPr>
          <p:spPr>
            <a:xfrm>
              <a:off x="6390941" y="1704957"/>
              <a:ext cx="228738" cy="198855"/>
            </a:xfrm>
            <a:prstGeom prst="line">
              <a:avLst/>
            </a:prstGeom>
            <a:ln w="22225">
              <a:solidFill>
                <a:schemeClr val="bg2">
                  <a:lumMod val="25000"/>
                </a:schemeClr>
              </a:solidFill>
              <a:prstDash val="sysDot"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/>
            <p:cNvCxnSpPr/>
            <p:nvPr/>
          </p:nvCxnSpPr>
          <p:spPr>
            <a:xfrm>
              <a:off x="6348187" y="1450508"/>
              <a:ext cx="42755" cy="254449"/>
            </a:xfrm>
            <a:prstGeom prst="line">
              <a:avLst/>
            </a:prstGeom>
            <a:ln w="22225">
              <a:solidFill>
                <a:schemeClr val="bg2">
                  <a:lumMod val="25000"/>
                </a:schemeClr>
              </a:solidFill>
              <a:prstDash val="sysDot"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5"/>
            <p:cNvSpPr txBox="1"/>
            <p:nvPr/>
          </p:nvSpPr>
          <p:spPr>
            <a:xfrm>
              <a:off x="5029200" y="1904881"/>
              <a:ext cx="2027648" cy="39343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o-RO" sz="1600" b="1" dirty="0">
                  <a:solidFill>
                    <a:schemeClr val="bg1">
                      <a:lumMod val="8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rbia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o-RO" sz="1600" b="1" dirty="0">
                  <a:solidFill>
                    <a:schemeClr val="bg1">
                      <a:lumMod val="8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RS)</a:t>
              </a:r>
              <a:endParaRPr lang="en-US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7" name="Straight Connector 6"/>
            <p:cNvCxnSpPr/>
            <p:nvPr/>
          </p:nvCxnSpPr>
          <p:spPr>
            <a:xfrm flipV="1">
              <a:off x="6048903" y="1704957"/>
              <a:ext cx="342039" cy="173196"/>
            </a:xfrm>
            <a:prstGeom prst="line">
              <a:avLst/>
            </a:prstGeom>
            <a:ln w="22225">
              <a:solidFill>
                <a:schemeClr val="bg2">
                  <a:lumMod val="25000"/>
                </a:schemeClr>
              </a:solidFill>
              <a:prstDash val="sysDot"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7551735" y="1440887"/>
              <a:ext cx="235152" cy="192440"/>
            </a:xfrm>
            <a:prstGeom prst="line">
              <a:avLst/>
            </a:prstGeom>
            <a:ln w="22225">
              <a:solidFill>
                <a:schemeClr val="accent1">
                  <a:lumMod val="75000"/>
                </a:schemeClr>
              </a:solidFill>
              <a:prstDash val="sysDot"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7551735" y="1828974"/>
              <a:ext cx="299284" cy="252310"/>
            </a:xfrm>
            <a:prstGeom prst="line">
              <a:avLst/>
            </a:prstGeom>
            <a:ln w="22225">
              <a:solidFill>
                <a:schemeClr val="accent1">
                  <a:lumMod val="75000"/>
                </a:schemeClr>
              </a:solidFill>
              <a:prstDash val="sysDot"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6186787" y="2435161"/>
              <a:ext cx="2028717" cy="39343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o-RO" sz="1600" b="1" dirty="0">
                  <a:solidFill>
                    <a:schemeClr val="bg1">
                      <a:lumMod val="8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lgaria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o-RO" sz="1600" b="1" dirty="0">
                  <a:solidFill>
                    <a:schemeClr val="bg1">
                      <a:lumMod val="8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BG)</a:t>
              </a:r>
              <a:endParaRPr lang="en-US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6642" name="Picture 3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6405090" y="1549446"/>
              <a:ext cx="414720" cy="2480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643" name="Picture 5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5901191" y="1575877"/>
              <a:ext cx="413958" cy="2472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644" name="Picture 7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7669258" y="1777070"/>
              <a:ext cx="414720" cy="2472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645" name="Picture 6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621308" y="1341742"/>
              <a:ext cx="414720" cy="2472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26632" name="Picture 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746625" y="4819650"/>
            <a:ext cx="4159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33" name="Text Box 9"/>
          <p:cNvSpPr txBox="1">
            <a:spLocks noChangeArrowheads="1"/>
          </p:cNvSpPr>
          <p:nvPr/>
        </p:nvSpPr>
        <p:spPr bwMode="auto">
          <a:xfrm>
            <a:off x="1876425" y="115888"/>
            <a:ext cx="79724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altLang="ro-RO" b="1">
                <a:solidFill>
                  <a:srgbClr val="24297A"/>
                </a:solidFill>
              </a:rPr>
              <a:t>INVESTITII IN RETEAUA ELECTRICA DE TRANSPORT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49" name="Picture 2" descr="G:\____Kingston\Moldova\HARTA RET ULTIMA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92663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3" name="Picture 2" descr="C:\Users\mirela.mathie\Desktop\Untitle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9060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74" name="Rectangle 2"/>
          <p:cNvSpPr>
            <a:spLocks noChangeArrowheads="1"/>
          </p:cNvSpPr>
          <p:nvPr/>
        </p:nvSpPr>
        <p:spPr bwMode="auto">
          <a:xfrm>
            <a:off x="1371600" y="719138"/>
            <a:ext cx="8845550" cy="892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600" b="1">
                <a:solidFill>
                  <a:srgbClr val="1B3277"/>
                </a:solidFill>
              </a:rPr>
              <a:t>Doamna Florentina Silvia R</a:t>
            </a:r>
            <a:r>
              <a:rPr lang="ro-RO" sz="2600" b="1">
                <a:solidFill>
                  <a:srgbClr val="1B3277"/>
                </a:solidFill>
              </a:rPr>
              <a:t>Ă</a:t>
            </a:r>
            <a:r>
              <a:rPr lang="en-US" sz="2600" b="1">
                <a:solidFill>
                  <a:srgbClr val="1B3277"/>
                </a:solidFill>
              </a:rPr>
              <a:t>DUCANU</a:t>
            </a:r>
          </a:p>
          <a:p>
            <a:pPr algn="ctr"/>
            <a:r>
              <a:rPr lang="ro-RO" sz="2600" b="1">
                <a:solidFill>
                  <a:srgbClr val="1B3277"/>
                </a:solidFill>
              </a:rPr>
              <a:t>Director, Directia Investitii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50888" y="1676400"/>
            <a:ext cx="6030912" cy="39862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amna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rentina Silvia Răducanu este 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unoscută în industria de profil ca expert al sectorului 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etic.</a:t>
            </a:r>
            <a:endParaRPr lang="en-US" sz="1100" dirty="0">
              <a:solidFill>
                <a:srgbClr val="1B327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n 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iembrie 2012 si până in prezent  este Directorul Direcției de Investiții din cadrul CNTEE Transelectrica  SA având ca sarcini principale coordonarea portofoliului de proiecte de investiții majore ale Companie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jor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lizat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st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0 mi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oane e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o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oordonarea si urmarirea Programului 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Investiții al Companie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ordonarea activității de accesare fonduri europene pentru proiectele de investiți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dur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ras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na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2016= 147,5 lei,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iect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us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ar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minimum 25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ioan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uro).</a:t>
            </a:r>
            <a:endParaRPr lang="ro-RO" sz="1100" dirty="0">
              <a:solidFill>
                <a:srgbClr val="1B327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endParaRPr lang="ro-RO" sz="1100" dirty="0">
              <a:solidFill>
                <a:srgbClr val="1B327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tr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l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ant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iect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ț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rulate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cursul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iere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ional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movarea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rea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or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iect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x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n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ul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ț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 de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st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0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ioan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uro: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ehnologizarea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ț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e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ric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00/110 kV Oradea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d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ehnologizarea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ț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e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ric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00/220 kV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z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est;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locuirea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de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tat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formar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i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ric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 400 kV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navoda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St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â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pu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zarea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ț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e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00 kV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ina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LEA 400 kV Re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ț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-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ncevo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zarea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xulu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anat 400 kV,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inderea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ț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e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00 kV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navod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ă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zarea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ie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00 kV St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â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pu</a:t>
            </a:r>
            <a:endParaRPr lang="ro-RO" sz="1100" dirty="0">
              <a:solidFill>
                <a:srgbClr val="1B327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o-RO" sz="1100" dirty="0">
              <a:solidFill>
                <a:srgbClr val="1B327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na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rentina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ă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canu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solvit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ultatea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Energetic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ă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n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drul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ăț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 “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tehnica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curest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A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icipat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oas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sur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gatir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at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a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t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inatat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na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ducanu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re o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en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ță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st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5 de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torul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ergetic </a:t>
            </a:r>
            <a:r>
              <a:rPr lang="ro-RO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ste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7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i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mentul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ie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or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100" dirty="0" err="1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</a:t>
            </a:r>
            <a:r>
              <a:rPr lang="ro-RO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ț</a:t>
            </a:r>
            <a:r>
              <a:rPr lang="en-US" sz="1100" dirty="0">
                <a:solidFill>
                  <a:srgbClr val="1B32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.</a:t>
            </a:r>
            <a:endParaRPr lang="ro-RO" sz="1100" dirty="0">
              <a:solidFill>
                <a:srgbClr val="1B327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676" name="Picture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934200" y="1752600"/>
            <a:ext cx="2514600" cy="426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Teay3eQNu9M5a.m1bc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BuYTghQge4Bnk63oAl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j9Gb6fSDOuENvNAkN2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V0tp5dQ_e8cQhxeWXaI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MdbhA3TzC3noWIpNmJ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54biMRZSe6uwkRS2M10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PYx63wSey0RidPUD0bW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tYDalFTRmztkXuphxp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5OTgN8Rv6vFveMATsA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.eTIufTUqo6O_PAr2z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dhtTYtTh2cXr3n_WUU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JdAfFSSeeGbPTqaorqXQ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079</TotalTime>
  <Words>697</Words>
  <Application>Microsoft Office PowerPoint</Application>
  <PresentationFormat>A4 Paper (210x297 mm)</PresentationFormat>
  <Paragraphs>116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Design Template</vt:lpstr>
      </vt:variant>
      <vt:variant>
        <vt:i4>14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7</vt:i4>
      </vt:variant>
    </vt:vector>
  </HeadingPairs>
  <TitlesOfParts>
    <vt:vector size="27" baseType="lpstr">
      <vt:lpstr>Calibri</vt:lpstr>
      <vt:lpstr>Arial</vt:lpstr>
      <vt:lpstr>Arial Black</vt:lpstr>
      <vt:lpstr>1_Office Theme</vt:lpstr>
      <vt:lpstr>1_Office Theme</vt:lpstr>
      <vt:lpstr>1_Office Theme</vt:lpstr>
      <vt:lpstr>1_Office Theme</vt:lpstr>
      <vt:lpstr>1_Office Theme</vt:lpstr>
      <vt:lpstr>1_Office Theme</vt:lpstr>
      <vt:lpstr>1_Office Theme</vt:lpstr>
      <vt:lpstr>1_Office Theme</vt:lpstr>
      <vt:lpstr>1_Office Theme</vt:lpstr>
      <vt:lpstr>1_Office Theme</vt:lpstr>
      <vt:lpstr>1_Office Theme</vt:lpstr>
      <vt:lpstr>1_Office Theme</vt:lpstr>
      <vt:lpstr>1_Office Theme</vt:lpstr>
      <vt:lpstr>1_Office Theme</vt:lpstr>
      <vt:lpstr>think-cell Slide</vt:lpstr>
      <vt:lpstr>Chart</vt:lpstr>
      <vt:lpstr>Microsoft Excel Chart</vt:lpstr>
      <vt:lpstr>Slide 1</vt:lpstr>
      <vt:lpstr>Slide 2</vt:lpstr>
      <vt:lpstr>Slide 3</vt:lpstr>
      <vt:lpstr>Slide 4</vt:lpstr>
      <vt:lpstr>Slide 5</vt:lpstr>
      <vt:lpstr>Slide 6</vt:lpstr>
      <vt:lpstr>Slide 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gigi ion</dc:creator>
  <cp:lastModifiedBy>User</cp:lastModifiedBy>
  <cp:revision>391</cp:revision>
  <cp:lastPrinted>2014-11-14T07:31:59Z</cp:lastPrinted>
  <dcterms:created xsi:type="dcterms:W3CDTF">2013-10-10T10:01:53Z</dcterms:created>
  <dcterms:modified xsi:type="dcterms:W3CDTF">2017-03-23T11:35:08Z</dcterms:modified>
</cp:coreProperties>
</file>